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1"/>
  </p:notesMasterIdLst>
  <p:sldIdLst>
    <p:sldId id="256" r:id="rId2"/>
    <p:sldId id="264" r:id="rId3"/>
    <p:sldId id="260" r:id="rId4"/>
    <p:sldId id="261" r:id="rId5"/>
    <p:sldId id="275" r:id="rId6"/>
    <p:sldId id="262" r:id="rId7"/>
    <p:sldId id="265" r:id="rId8"/>
    <p:sldId id="263" r:id="rId9"/>
    <p:sldId id="268" r:id="rId10"/>
  </p:sldIdLst>
  <p:sldSz cx="12192000" cy="6858000"/>
  <p:notesSz cx="6858000" cy="9144000"/>
  <p:custDataLst>
    <p:tags r:id="rId1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65656"/>
    <a:srgbClr val="FFFFFF"/>
    <a:srgbClr val="289CCC"/>
    <a:srgbClr val="E33272"/>
    <a:srgbClr val="EE84AA"/>
    <a:srgbClr val="BB275D"/>
    <a:srgbClr val="C4BD97"/>
    <a:srgbClr val="DDD9C3"/>
    <a:srgbClr val="97529C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886" autoAdjust="0"/>
    <p:restoredTop sz="94660"/>
  </p:normalViewPr>
  <p:slideViewPr>
    <p:cSldViewPr snapToGrid="0">
      <p:cViewPr varScale="1">
        <p:scale>
          <a:sx n="78" d="100"/>
          <a:sy n="78" d="100"/>
        </p:scale>
        <p:origin x="126" y="6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7CE0BB8-A326-429F-A594-0E3DD11B0FA6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CH"/>
        </a:p>
      </dgm:t>
    </dgm:pt>
    <dgm:pt modelId="{5F64E49C-400F-482F-932E-690765A0C022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pPr algn="l"/>
          <a:r>
            <a:rPr lang="de-CH" dirty="0"/>
            <a:t>Morgens</a:t>
          </a:r>
          <a:br>
            <a:rPr lang="de-CH" dirty="0"/>
          </a:br>
          <a:r>
            <a:rPr lang="de-CH" dirty="0"/>
            <a:t>von…</a:t>
          </a:r>
        </a:p>
      </dgm:t>
    </dgm:pt>
    <dgm:pt modelId="{E7A869FA-B721-4559-BE01-F1BA13137AB7}" type="parTrans" cxnId="{9358F153-9621-4120-95A3-EC58203B3C68}">
      <dgm:prSet/>
      <dgm:spPr/>
      <dgm:t>
        <a:bodyPr/>
        <a:lstStyle/>
        <a:p>
          <a:endParaRPr lang="de-CH"/>
        </a:p>
      </dgm:t>
    </dgm:pt>
    <dgm:pt modelId="{46EC8EFC-639E-447F-95F7-0175CA34EDC5}" type="sibTrans" cxnId="{9358F153-9621-4120-95A3-EC58203B3C68}">
      <dgm:prSet/>
      <dgm:spPr/>
      <dgm:t>
        <a:bodyPr/>
        <a:lstStyle/>
        <a:p>
          <a:endParaRPr lang="de-CH"/>
        </a:p>
      </dgm:t>
    </dgm:pt>
    <dgm:pt modelId="{BAC722E1-27E2-488A-8921-87D1A70D96DA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11:55 Uhr</a:t>
          </a:r>
        </a:p>
      </dgm:t>
    </dgm:pt>
    <dgm:pt modelId="{80609054-2891-4980-B58E-C723EA7FBF7F}" type="parTrans" cxnId="{4A00AEE9-846E-4D59-88A8-3592B194F874}">
      <dgm:prSet/>
      <dgm:spPr/>
      <dgm:t>
        <a:bodyPr/>
        <a:lstStyle/>
        <a:p>
          <a:endParaRPr lang="de-CH"/>
        </a:p>
      </dgm:t>
    </dgm:pt>
    <dgm:pt modelId="{2E13CE31-357A-4322-A040-4997982119CD}" type="sibTrans" cxnId="{4A00AEE9-846E-4D59-88A8-3592B194F874}">
      <dgm:prSet/>
      <dgm:spPr/>
      <dgm:t>
        <a:bodyPr/>
        <a:lstStyle/>
        <a:p>
          <a:endParaRPr lang="de-CH"/>
        </a:p>
      </dgm:t>
    </dgm:pt>
    <dgm:pt modelId="{3E6C3280-AC2F-4C7A-9AEF-783694AD9125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pPr algn="l"/>
          <a:r>
            <a:rPr lang="de-CH" dirty="0"/>
            <a:t>Nachmittags</a:t>
          </a:r>
          <a:br>
            <a:rPr lang="de-CH" dirty="0"/>
          </a:br>
          <a:r>
            <a:rPr lang="de-CH" dirty="0"/>
            <a:t>von…</a:t>
          </a:r>
        </a:p>
      </dgm:t>
    </dgm:pt>
    <dgm:pt modelId="{5DD1D89C-C9F7-4A75-B1FA-93058EFFDC80}" type="parTrans" cxnId="{620F0320-2C05-4C6C-ACA7-F32206B1A69B}">
      <dgm:prSet/>
      <dgm:spPr/>
      <dgm:t>
        <a:bodyPr/>
        <a:lstStyle/>
        <a:p>
          <a:endParaRPr lang="de-CH"/>
        </a:p>
      </dgm:t>
    </dgm:pt>
    <dgm:pt modelId="{3455C70F-F3EC-429B-867F-12F1D5DC0F3E}" type="sibTrans" cxnId="{620F0320-2C05-4C6C-ACA7-F32206B1A69B}">
      <dgm:prSet/>
      <dgm:spPr/>
      <dgm:t>
        <a:bodyPr/>
        <a:lstStyle/>
        <a:p>
          <a:endParaRPr lang="de-CH"/>
        </a:p>
      </dgm:t>
    </dgm:pt>
    <dgm:pt modelId="{8D725569-6446-4259-9E2C-039AE2D9A798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13:15 Uhr</a:t>
          </a:r>
        </a:p>
      </dgm:t>
    </dgm:pt>
    <dgm:pt modelId="{FC68D3B4-8056-4233-A731-FE9632DF622F}" type="parTrans" cxnId="{B9C4ED86-FDF2-4CBC-9D93-8E7E6C7C5551}">
      <dgm:prSet/>
      <dgm:spPr/>
      <dgm:t>
        <a:bodyPr/>
        <a:lstStyle/>
        <a:p>
          <a:endParaRPr lang="de-CH"/>
        </a:p>
      </dgm:t>
    </dgm:pt>
    <dgm:pt modelId="{A42A8121-D18C-48E3-8389-29E6AF3EE5ED}" type="sibTrans" cxnId="{B9C4ED86-FDF2-4CBC-9D93-8E7E6C7C5551}">
      <dgm:prSet/>
      <dgm:spPr/>
      <dgm:t>
        <a:bodyPr/>
        <a:lstStyle/>
        <a:p>
          <a:endParaRPr lang="de-CH"/>
        </a:p>
      </dgm:t>
    </dgm:pt>
    <dgm:pt modelId="{E41ED792-3296-4435-B02A-CE0999187114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16:40 Uhr</a:t>
          </a:r>
        </a:p>
      </dgm:t>
    </dgm:pt>
    <dgm:pt modelId="{FFDD9ABF-DCDF-440F-9165-09E9437D7BBD}" type="parTrans" cxnId="{CF58A67D-7370-44CB-B2D9-559A66314795}">
      <dgm:prSet/>
      <dgm:spPr/>
      <dgm:t>
        <a:bodyPr/>
        <a:lstStyle/>
        <a:p>
          <a:endParaRPr lang="de-CH"/>
        </a:p>
      </dgm:t>
    </dgm:pt>
    <dgm:pt modelId="{74DB6B24-5C41-4179-B1C7-B6BE8AAA2AAF}" type="sibTrans" cxnId="{CF58A67D-7370-44CB-B2D9-559A66314795}">
      <dgm:prSet/>
      <dgm:spPr/>
      <dgm:t>
        <a:bodyPr/>
        <a:lstStyle/>
        <a:p>
          <a:endParaRPr lang="de-CH"/>
        </a:p>
      </dgm:t>
    </dgm:pt>
    <dgm:pt modelId="{A99166FE-78D3-4A16-BDF4-0F23DA248B77}">
      <dgm:prSet phldrT="[Text]"/>
      <dgm:spPr>
        <a:ln>
          <a:noFill/>
        </a:ln>
      </dgm:spPr>
      <dgm:t>
        <a:bodyPr/>
        <a:lstStyle/>
        <a:p>
          <a:r>
            <a:rPr lang="de-CH" dirty="0"/>
            <a:t>bis</a:t>
          </a:r>
        </a:p>
      </dgm:t>
    </dgm:pt>
    <dgm:pt modelId="{4B710B1F-7F00-4176-8376-D51594A6B6D9}" type="parTrans" cxnId="{ACBC4062-28C7-483A-8A7F-6C0716C88C96}">
      <dgm:prSet/>
      <dgm:spPr>
        <a:ln>
          <a:noFill/>
        </a:ln>
      </dgm:spPr>
      <dgm:t>
        <a:bodyPr/>
        <a:lstStyle/>
        <a:p>
          <a:endParaRPr lang="de-CH"/>
        </a:p>
      </dgm:t>
    </dgm:pt>
    <dgm:pt modelId="{5F309AFB-7825-4283-8BEF-BBD7C5A70063}" type="sibTrans" cxnId="{ACBC4062-28C7-483A-8A7F-6C0716C88C96}">
      <dgm:prSet/>
      <dgm:spPr/>
      <dgm:t>
        <a:bodyPr/>
        <a:lstStyle/>
        <a:p>
          <a:endParaRPr lang="de-CH"/>
        </a:p>
      </dgm:t>
    </dgm:pt>
    <dgm:pt modelId="{A3591E46-1E51-4C9F-8B2F-087A191899D7}">
      <dgm:prSet phldrT="[Text]"/>
      <dgm:spPr>
        <a:ln>
          <a:noFill/>
        </a:ln>
      </dgm:spPr>
      <dgm:t>
        <a:bodyPr/>
        <a:lstStyle/>
        <a:p>
          <a:r>
            <a:rPr lang="de-CH" dirty="0"/>
            <a:t>bis</a:t>
          </a:r>
        </a:p>
      </dgm:t>
    </dgm:pt>
    <dgm:pt modelId="{8CC2767A-485D-4301-825B-35A75D32D313}" type="parTrans" cxnId="{31998540-77D0-46A4-8C13-2E8A96BF41B8}">
      <dgm:prSet/>
      <dgm:spPr>
        <a:ln>
          <a:noFill/>
        </a:ln>
      </dgm:spPr>
      <dgm:t>
        <a:bodyPr/>
        <a:lstStyle/>
        <a:p>
          <a:endParaRPr lang="de-CH"/>
        </a:p>
      </dgm:t>
    </dgm:pt>
    <dgm:pt modelId="{BAF35487-4361-4309-BD29-47CD9D279CBC}" type="sibTrans" cxnId="{31998540-77D0-46A4-8C13-2E8A96BF41B8}">
      <dgm:prSet/>
      <dgm:spPr/>
      <dgm:t>
        <a:bodyPr/>
        <a:lstStyle/>
        <a:p>
          <a:endParaRPr lang="de-CH"/>
        </a:p>
      </dgm:t>
    </dgm:pt>
    <dgm:pt modelId="{F6F9012A-87BE-4EE3-A690-055366B8F9D7}">
      <dgm:prSet phldrT="[Text]"/>
      <dgm:spPr>
        <a:noFill/>
        <a:ln>
          <a:noFill/>
        </a:ln>
      </dgm:spPr>
      <dgm:t>
        <a:bodyPr/>
        <a:lstStyle/>
        <a:p>
          <a:pPr algn="l"/>
          <a:endParaRPr lang="de-CH" dirty="0"/>
        </a:p>
      </dgm:t>
    </dgm:pt>
    <dgm:pt modelId="{CCBA445A-740D-4FBC-A5AA-BAD3E05D523B}" type="parTrans" cxnId="{24D0A245-B5B1-4530-B688-F2531A531578}">
      <dgm:prSet/>
      <dgm:spPr>
        <a:noFill/>
        <a:ln>
          <a:noFill/>
        </a:ln>
      </dgm:spPr>
      <dgm:t>
        <a:bodyPr/>
        <a:lstStyle/>
        <a:p>
          <a:endParaRPr lang="de-CH"/>
        </a:p>
      </dgm:t>
    </dgm:pt>
    <dgm:pt modelId="{C3FEADF4-409D-4F2E-9C8B-3307ABE47DA3}" type="sibTrans" cxnId="{24D0A245-B5B1-4530-B688-F2531A531578}">
      <dgm:prSet/>
      <dgm:spPr/>
      <dgm:t>
        <a:bodyPr/>
        <a:lstStyle/>
        <a:p>
          <a:endParaRPr lang="de-CH"/>
        </a:p>
      </dgm:t>
    </dgm:pt>
    <dgm:pt modelId="{DC648DE9-BDDE-47A8-81F3-A959FD1297ED}">
      <dgm:prSet phldrT="[Text]"/>
      <dgm:spPr>
        <a:noFill/>
        <a:ln>
          <a:noFill/>
        </a:ln>
      </dgm:spPr>
      <dgm:t>
        <a:bodyPr/>
        <a:lstStyle/>
        <a:p>
          <a:pPr algn="l"/>
          <a:endParaRPr lang="de-CH" dirty="0"/>
        </a:p>
      </dgm:t>
    </dgm:pt>
    <dgm:pt modelId="{3E932220-C1A7-4DE7-839E-003C78B72851}" type="sibTrans" cxnId="{4C471BC2-DC23-4A0F-A6CF-7B5EFD51A188}">
      <dgm:prSet/>
      <dgm:spPr/>
      <dgm:t>
        <a:bodyPr/>
        <a:lstStyle/>
        <a:p>
          <a:endParaRPr lang="de-CH"/>
        </a:p>
      </dgm:t>
    </dgm:pt>
    <dgm:pt modelId="{E5A2F4F1-367B-4665-A7C8-AD9CA5ABEC2C}" type="parTrans" cxnId="{4C471BC2-DC23-4A0F-A6CF-7B5EFD51A188}">
      <dgm:prSet/>
      <dgm:spPr>
        <a:noFill/>
        <a:ln>
          <a:noFill/>
        </a:ln>
      </dgm:spPr>
      <dgm:t>
        <a:bodyPr/>
        <a:lstStyle/>
        <a:p>
          <a:endParaRPr lang="de-CH"/>
        </a:p>
      </dgm:t>
    </dgm:pt>
    <dgm:pt modelId="{F17F1358-CD5D-4C61-A104-38FAD3DCE1E0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08:15 Uhr</a:t>
          </a:r>
        </a:p>
      </dgm:t>
    </dgm:pt>
    <dgm:pt modelId="{6AF437D9-F12C-4FB1-B037-870DD31C1775}" type="sibTrans" cxnId="{E1ED4EE2-E3AB-4084-B183-42741FF4A29E}">
      <dgm:prSet/>
      <dgm:spPr/>
      <dgm:t>
        <a:bodyPr/>
        <a:lstStyle/>
        <a:p>
          <a:endParaRPr lang="de-CH"/>
        </a:p>
      </dgm:t>
    </dgm:pt>
    <dgm:pt modelId="{1D979EB2-6C66-4EB5-8CD3-C2EE4CB89D9C}" type="parTrans" cxnId="{E1ED4EE2-E3AB-4084-B183-42741FF4A29E}">
      <dgm:prSet/>
      <dgm:spPr/>
      <dgm:t>
        <a:bodyPr/>
        <a:lstStyle/>
        <a:p>
          <a:endParaRPr lang="de-CH"/>
        </a:p>
      </dgm:t>
    </dgm:pt>
    <dgm:pt modelId="{E70590A1-CB01-42ED-8C65-49DC0EF7BFCF}" type="pres">
      <dgm:prSet presAssocID="{E7CE0BB8-A326-429F-A594-0E3DD11B0FA6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4351C1D7-3B9A-469C-9872-E64D1675B52B}" type="pres">
      <dgm:prSet presAssocID="{5F64E49C-400F-482F-932E-690765A0C022}" presName="root" presStyleCnt="0"/>
      <dgm:spPr/>
    </dgm:pt>
    <dgm:pt modelId="{7B6A32A6-A91F-481E-BF3C-567CD07F9EBB}" type="pres">
      <dgm:prSet presAssocID="{5F64E49C-400F-482F-932E-690765A0C022}" presName="rootComposite" presStyleCnt="0"/>
      <dgm:spPr/>
    </dgm:pt>
    <dgm:pt modelId="{D2B160AE-60EE-49B1-AB0B-296A6F051F5D}" type="pres">
      <dgm:prSet presAssocID="{5F64E49C-400F-482F-932E-690765A0C022}" presName="rootText" presStyleLbl="node1" presStyleIdx="0" presStyleCnt="2" custScaleX="124497" custScaleY="127474"/>
      <dgm:spPr/>
    </dgm:pt>
    <dgm:pt modelId="{66AF27FE-DEEE-4493-8AB6-2DF75BD76863}" type="pres">
      <dgm:prSet presAssocID="{5F64E49C-400F-482F-932E-690765A0C022}" presName="rootConnector" presStyleLbl="node1" presStyleIdx="0" presStyleCnt="2"/>
      <dgm:spPr/>
    </dgm:pt>
    <dgm:pt modelId="{7E6EDE5B-5DCC-483F-BDEE-F8B742382690}" type="pres">
      <dgm:prSet presAssocID="{5F64E49C-400F-482F-932E-690765A0C022}" presName="childShape" presStyleCnt="0"/>
      <dgm:spPr/>
    </dgm:pt>
    <dgm:pt modelId="{2880CEAC-AF94-4C40-9A65-AB091322C543}" type="pres">
      <dgm:prSet presAssocID="{CCBA445A-740D-4FBC-A5AA-BAD3E05D523B}" presName="Name13" presStyleLbl="parChTrans1D2" presStyleIdx="0" presStyleCnt="8"/>
      <dgm:spPr/>
    </dgm:pt>
    <dgm:pt modelId="{BE348649-D026-4AD6-85CA-2B877E9CAC35}" type="pres">
      <dgm:prSet presAssocID="{F6F9012A-87BE-4EE3-A690-055366B8F9D7}" presName="childText" presStyleLbl="bgAcc1" presStyleIdx="0" presStyleCnt="8">
        <dgm:presLayoutVars>
          <dgm:bulletEnabled val="1"/>
        </dgm:presLayoutVars>
      </dgm:prSet>
      <dgm:spPr/>
    </dgm:pt>
    <dgm:pt modelId="{82715789-5A6E-42E7-AE77-4CCA967CF352}" type="pres">
      <dgm:prSet presAssocID="{1D979EB2-6C66-4EB5-8CD3-C2EE4CB89D9C}" presName="Name13" presStyleLbl="parChTrans1D2" presStyleIdx="1" presStyleCnt="8"/>
      <dgm:spPr/>
    </dgm:pt>
    <dgm:pt modelId="{708D8021-C0C5-469D-87AA-07CD20DD4549}" type="pres">
      <dgm:prSet presAssocID="{F17F1358-CD5D-4C61-A104-38FAD3DCE1E0}" presName="childText" presStyleLbl="bgAcc1" presStyleIdx="1" presStyleCnt="8" custScaleX="124497">
        <dgm:presLayoutVars>
          <dgm:bulletEnabled val="1"/>
        </dgm:presLayoutVars>
      </dgm:prSet>
      <dgm:spPr/>
    </dgm:pt>
    <dgm:pt modelId="{2937C455-D2D3-4F68-AB4C-42FDD485D8C6}" type="pres">
      <dgm:prSet presAssocID="{4B710B1F-7F00-4176-8376-D51594A6B6D9}" presName="Name13" presStyleLbl="parChTrans1D2" presStyleIdx="2" presStyleCnt="8"/>
      <dgm:spPr/>
    </dgm:pt>
    <dgm:pt modelId="{4C3688E5-D649-458A-839E-2FA2629520C7}" type="pres">
      <dgm:prSet presAssocID="{A99166FE-78D3-4A16-BDF4-0F23DA248B77}" presName="childText" presStyleLbl="bgAcc1" presStyleIdx="2" presStyleCnt="8" custScaleX="124497">
        <dgm:presLayoutVars>
          <dgm:bulletEnabled val="1"/>
        </dgm:presLayoutVars>
      </dgm:prSet>
      <dgm:spPr/>
    </dgm:pt>
    <dgm:pt modelId="{31775304-2651-453F-BE24-5761B5BBEB7E}" type="pres">
      <dgm:prSet presAssocID="{80609054-2891-4980-B58E-C723EA7FBF7F}" presName="Name13" presStyleLbl="parChTrans1D2" presStyleIdx="3" presStyleCnt="8"/>
      <dgm:spPr/>
    </dgm:pt>
    <dgm:pt modelId="{6A61774E-83D5-4C66-A999-6CF5CF49A64C}" type="pres">
      <dgm:prSet presAssocID="{BAC722E1-27E2-488A-8921-87D1A70D96DA}" presName="childText" presStyleLbl="bgAcc1" presStyleIdx="3" presStyleCnt="8" custScaleX="124497">
        <dgm:presLayoutVars>
          <dgm:bulletEnabled val="1"/>
        </dgm:presLayoutVars>
      </dgm:prSet>
      <dgm:spPr/>
    </dgm:pt>
    <dgm:pt modelId="{9E4CA38E-236B-414C-937B-65B84A432F52}" type="pres">
      <dgm:prSet presAssocID="{3E6C3280-AC2F-4C7A-9AEF-783694AD9125}" presName="root" presStyleCnt="0"/>
      <dgm:spPr/>
    </dgm:pt>
    <dgm:pt modelId="{FA55899F-4636-465C-85F6-D23E39502DBD}" type="pres">
      <dgm:prSet presAssocID="{3E6C3280-AC2F-4C7A-9AEF-783694AD9125}" presName="rootComposite" presStyleCnt="0"/>
      <dgm:spPr/>
    </dgm:pt>
    <dgm:pt modelId="{67C2E270-FB59-4561-A7E8-476C78CD8D65}" type="pres">
      <dgm:prSet presAssocID="{3E6C3280-AC2F-4C7A-9AEF-783694AD9125}" presName="rootText" presStyleLbl="node1" presStyleIdx="1" presStyleCnt="2" custScaleX="124497" custScaleY="127474"/>
      <dgm:spPr/>
    </dgm:pt>
    <dgm:pt modelId="{FC1076BF-86E3-43BF-8D53-667BA5403AA5}" type="pres">
      <dgm:prSet presAssocID="{3E6C3280-AC2F-4C7A-9AEF-783694AD9125}" presName="rootConnector" presStyleLbl="node1" presStyleIdx="1" presStyleCnt="2"/>
      <dgm:spPr/>
    </dgm:pt>
    <dgm:pt modelId="{4288AC2B-1765-4A47-A5DC-0F21AA7DD0D4}" type="pres">
      <dgm:prSet presAssocID="{3E6C3280-AC2F-4C7A-9AEF-783694AD9125}" presName="childShape" presStyleCnt="0"/>
      <dgm:spPr/>
    </dgm:pt>
    <dgm:pt modelId="{7600C868-8761-4D6B-970B-F745E516C266}" type="pres">
      <dgm:prSet presAssocID="{E5A2F4F1-367B-4665-A7C8-AD9CA5ABEC2C}" presName="Name13" presStyleLbl="parChTrans1D2" presStyleIdx="4" presStyleCnt="8"/>
      <dgm:spPr/>
    </dgm:pt>
    <dgm:pt modelId="{A5C9992D-A915-4490-ACC7-ABD9AC8810AA}" type="pres">
      <dgm:prSet presAssocID="{DC648DE9-BDDE-47A8-81F3-A959FD1297ED}" presName="childText" presStyleLbl="bgAcc1" presStyleIdx="4" presStyleCnt="8">
        <dgm:presLayoutVars>
          <dgm:bulletEnabled val="1"/>
        </dgm:presLayoutVars>
      </dgm:prSet>
      <dgm:spPr/>
    </dgm:pt>
    <dgm:pt modelId="{0F5C3FBD-F0D7-457A-8A3D-F894E135081D}" type="pres">
      <dgm:prSet presAssocID="{FC68D3B4-8056-4233-A731-FE9632DF622F}" presName="Name13" presStyleLbl="parChTrans1D2" presStyleIdx="5" presStyleCnt="8"/>
      <dgm:spPr/>
    </dgm:pt>
    <dgm:pt modelId="{0D4EFF92-B00F-433D-8E13-404EC2F306DD}" type="pres">
      <dgm:prSet presAssocID="{8D725569-6446-4259-9E2C-039AE2D9A798}" presName="childText" presStyleLbl="bgAcc1" presStyleIdx="5" presStyleCnt="8" custScaleX="124497">
        <dgm:presLayoutVars>
          <dgm:bulletEnabled val="1"/>
        </dgm:presLayoutVars>
      </dgm:prSet>
      <dgm:spPr/>
    </dgm:pt>
    <dgm:pt modelId="{5B8F671E-5E77-48D4-AD23-415D145D72FF}" type="pres">
      <dgm:prSet presAssocID="{8CC2767A-485D-4301-825B-35A75D32D313}" presName="Name13" presStyleLbl="parChTrans1D2" presStyleIdx="6" presStyleCnt="8"/>
      <dgm:spPr/>
    </dgm:pt>
    <dgm:pt modelId="{B1758A4B-FB01-4E33-B580-15E296A5DAF6}" type="pres">
      <dgm:prSet presAssocID="{A3591E46-1E51-4C9F-8B2F-087A191899D7}" presName="childText" presStyleLbl="bgAcc1" presStyleIdx="6" presStyleCnt="8" custScaleX="124497">
        <dgm:presLayoutVars>
          <dgm:bulletEnabled val="1"/>
        </dgm:presLayoutVars>
      </dgm:prSet>
      <dgm:spPr/>
    </dgm:pt>
    <dgm:pt modelId="{924D06F6-7185-4D77-992C-D0E42528A2B9}" type="pres">
      <dgm:prSet presAssocID="{FFDD9ABF-DCDF-440F-9165-09E9437D7BBD}" presName="Name13" presStyleLbl="parChTrans1D2" presStyleIdx="7" presStyleCnt="8"/>
      <dgm:spPr/>
    </dgm:pt>
    <dgm:pt modelId="{20401F6E-2218-4903-935B-57A86E61C90F}" type="pres">
      <dgm:prSet presAssocID="{E41ED792-3296-4435-B02A-CE0999187114}" presName="childText" presStyleLbl="bgAcc1" presStyleIdx="7" presStyleCnt="8" custScaleX="124497">
        <dgm:presLayoutVars>
          <dgm:bulletEnabled val="1"/>
        </dgm:presLayoutVars>
      </dgm:prSet>
      <dgm:spPr/>
    </dgm:pt>
  </dgm:ptLst>
  <dgm:cxnLst>
    <dgm:cxn modelId="{47D57D02-ABD7-4BA1-B7DC-2603847E8ED4}" type="presOf" srcId="{E5A2F4F1-367B-4665-A7C8-AD9CA5ABEC2C}" destId="{7600C868-8761-4D6B-970B-F745E516C266}" srcOrd="0" destOrd="0" presId="urn:microsoft.com/office/officeart/2005/8/layout/hierarchy3"/>
    <dgm:cxn modelId="{9BD4621E-DE0A-409A-8128-6A3B43479DCA}" type="presOf" srcId="{E7CE0BB8-A326-429F-A594-0E3DD11B0FA6}" destId="{E70590A1-CB01-42ED-8C65-49DC0EF7BFCF}" srcOrd="0" destOrd="0" presId="urn:microsoft.com/office/officeart/2005/8/layout/hierarchy3"/>
    <dgm:cxn modelId="{620F0320-2C05-4C6C-ACA7-F32206B1A69B}" srcId="{E7CE0BB8-A326-429F-A594-0E3DD11B0FA6}" destId="{3E6C3280-AC2F-4C7A-9AEF-783694AD9125}" srcOrd="1" destOrd="0" parTransId="{5DD1D89C-C9F7-4A75-B1FA-93058EFFDC80}" sibTransId="{3455C70F-F3EC-429B-867F-12F1D5DC0F3E}"/>
    <dgm:cxn modelId="{C968852F-F99A-4C68-B619-DA7BD557DDC3}" type="presOf" srcId="{A3591E46-1E51-4C9F-8B2F-087A191899D7}" destId="{B1758A4B-FB01-4E33-B580-15E296A5DAF6}" srcOrd="0" destOrd="0" presId="urn:microsoft.com/office/officeart/2005/8/layout/hierarchy3"/>
    <dgm:cxn modelId="{C4990D3C-9E5E-4E10-A53A-E6C6F16EC45E}" type="presOf" srcId="{8D725569-6446-4259-9E2C-039AE2D9A798}" destId="{0D4EFF92-B00F-433D-8E13-404EC2F306DD}" srcOrd="0" destOrd="0" presId="urn:microsoft.com/office/officeart/2005/8/layout/hierarchy3"/>
    <dgm:cxn modelId="{31998540-77D0-46A4-8C13-2E8A96BF41B8}" srcId="{3E6C3280-AC2F-4C7A-9AEF-783694AD9125}" destId="{A3591E46-1E51-4C9F-8B2F-087A191899D7}" srcOrd="2" destOrd="0" parTransId="{8CC2767A-485D-4301-825B-35A75D32D313}" sibTransId="{BAF35487-4361-4309-BD29-47CD9D279CBC}"/>
    <dgm:cxn modelId="{F415CF5D-9E43-4EB8-8B96-B9D0276A4C4F}" type="presOf" srcId="{BAC722E1-27E2-488A-8921-87D1A70D96DA}" destId="{6A61774E-83D5-4C66-A999-6CF5CF49A64C}" srcOrd="0" destOrd="0" presId="urn:microsoft.com/office/officeart/2005/8/layout/hierarchy3"/>
    <dgm:cxn modelId="{BE73305F-E387-4AF1-9EC8-D85340E8828E}" type="presOf" srcId="{FFDD9ABF-DCDF-440F-9165-09E9437D7BBD}" destId="{924D06F6-7185-4D77-992C-D0E42528A2B9}" srcOrd="0" destOrd="0" presId="urn:microsoft.com/office/officeart/2005/8/layout/hierarchy3"/>
    <dgm:cxn modelId="{3A31EA5F-A943-4828-90AF-35E0DAF63DCA}" type="presOf" srcId="{A99166FE-78D3-4A16-BDF4-0F23DA248B77}" destId="{4C3688E5-D649-458A-839E-2FA2629520C7}" srcOrd="0" destOrd="0" presId="urn:microsoft.com/office/officeart/2005/8/layout/hierarchy3"/>
    <dgm:cxn modelId="{ACBC4062-28C7-483A-8A7F-6C0716C88C96}" srcId="{5F64E49C-400F-482F-932E-690765A0C022}" destId="{A99166FE-78D3-4A16-BDF4-0F23DA248B77}" srcOrd="2" destOrd="0" parTransId="{4B710B1F-7F00-4176-8376-D51594A6B6D9}" sibTransId="{5F309AFB-7825-4283-8BEF-BBD7C5A70063}"/>
    <dgm:cxn modelId="{00120843-00BC-4B7E-B14F-4D3A13C9FD6B}" type="presOf" srcId="{F6F9012A-87BE-4EE3-A690-055366B8F9D7}" destId="{BE348649-D026-4AD6-85CA-2B877E9CAC35}" srcOrd="0" destOrd="0" presId="urn:microsoft.com/office/officeart/2005/8/layout/hierarchy3"/>
    <dgm:cxn modelId="{24D0A245-B5B1-4530-B688-F2531A531578}" srcId="{5F64E49C-400F-482F-932E-690765A0C022}" destId="{F6F9012A-87BE-4EE3-A690-055366B8F9D7}" srcOrd="0" destOrd="0" parTransId="{CCBA445A-740D-4FBC-A5AA-BAD3E05D523B}" sibTransId="{C3FEADF4-409D-4F2E-9C8B-3307ABE47DA3}"/>
    <dgm:cxn modelId="{B5EE464E-9F6A-4078-A23F-A640439D3AE9}" type="presOf" srcId="{3E6C3280-AC2F-4C7A-9AEF-783694AD9125}" destId="{67C2E270-FB59-4561-A7E8-476C78CD8D65}" srcOrd="0" destOrd="0" presId="urn:microsoft.com/office/officeart/2005/8/layout/hierarchy3"/>
    <dgm:cxn modelId="{FF93CB4E-C3F7-48F5-9761-EACEA048ED76}" type="presOf" srcId="{5F64E49C-400F-482F-932E-690765A0C022}" destId="{66AF27FE-DEEE-4493-8AB6-2DF75BD76863}" srcOrd="1" destOrd="0" presId="urn:microsoft.com/office/officeart/2005/8/layout/hierarchy3"/>
    <dgm:cxn modelId="{37D6C451-20BD-4FC6-B794-13F81235F3DA}" type="presOf" srcId="{5F64E49C-400F-482F-932E-690765A0C022}" destId="{D2B160AE-60EE-49B1-AB0B-296A6F051F5D}" srcOrd="0" destOrd="0" presId="urn:microsoft.com/office/officeart/2005/8/layout/hierarchy3"/>
    <dgm:cxn modelId="{9358F153-9621-4120-95A3-EC58203B3C68}" srcId="{E7CE0BB8-A326-429F-A594-0E3DD11B0FA6}" destId="{5F64E49C-400F-482F-932E-690765A0C022}" srcOrd="0" destOrd="0" parTransId="{E7A869FA-B721-4559-BE01-F1BA13137AB7}" sibTransId="{46EC8EFC-639E-447F-95F7-0175CA34EDC5}"/>
    <dgm:cxn modelId="{3B07B975-E836-4167-8BAF-8C518104F676}" type="presOf" srcId="{3E6C3280-AC2F-4C7A-9AEF-783694AD9125}" destId="{FC1076BF-86E3-43BF-8D53-667BA5403AA5}" srcOrd="1" destOrd="0" presId="urn:microsoft.com/office/officeart/2005/8/layout/hierarchy3"/>
    <dgm:cxn modelId="{76A69F79-5643-4C93-BE8B-B3A82F566017}" type="presOf" srcId="{FC68D3B4-8056-4233-A731-FE9632DF622F}" destId="{0F5C3FBD-F0D7-457A-8A3D-F894E135081D}" srcOrd="0" destOrd="0" presId="urn:microsoft.com/office/officeart/2005/8/layout/hierarchy3"/>
    <dgm:cxn modelId="{CF58A67D-7370-44CB-B2D9-559A66314795}" srcId="{3E6C3280-AC2F-4C7A-9AEF-783694AD9125}" destId="{E41ED792-3296-4435-B02A-CE0999187114}" srcOrd="3" destOrd="0" parTransId="{FFDD9ABF-DCDF-440F-9165-09E9437D7BBD}" sibTransId="{74DB6B24-5C41-4179-B1C7-B6BE8AAA2AAF}"/>
    <dgm:cxn modelId="{B9C4ED86-FDF2-4CBC-9D93-8E7E6C7C5551}" srcId="{3E6C3280-AC2F-4C7A-9AEF-783694AD9125}" destId="{8D725569-6446-4259-9E2C-039AE2D9A798}" srcOrd="1" destOrd="0" parTransId="{FC68D3B4-8056-4233-A731-FE9632DF622F}" sibTransId="{A42A8121-D18C-48E3-8389-29E6AF3EE5ED}"/>
    <dgm:cxn modelId="{92A24AAC-6F3E-4D35-B693-6D865C5C457D}" type="presOf" srcId="{CCBA445A-740D-4FBC-A5AA-BAD3E05D523B}" destId="{2880CEAC-AF94-4C40-9A65-AB091322C543}" srcOrd="0" destOrd="0" presId="urn:microsoft.com/office/officeart/2005/8/layout/hierarchy3"/>
    <dgm:cxn modelId="{0495FEAC-BFFE-4119-8C03-DD37D75D83FA}" type="presOf" srcId="{4B710B1F-7F00-4176-8376-D51594A6B6D9}" destId="{2937C455-D2D3-4F68-AB4C-42FDD485D8C6}" srcOrd="0" destOrd="0" presId="urn:microsoft.com/office/officeart/2005/8/layout/hierarchy3"/>
    <dgm:cxn modelId="{0797D6B0-88E5-4E91-BD17-38881BF1FC17}" type="presOf" srcId="{F17F1358-CD5D-4C61-A104-38FAD3DCE1E0}" destId="{708D8021-C0C5-469D-87AA-07CD20DD4549}" srcOrd="0" destOrd="0" presId="urn:microsoft.com/office/officeart/2005/8/layout/hierarchy3"/>
    <dgm:cxn modelId="{4C471BC2-DC23-4A0F-A6CF-7B5EFD51A188}" srcId="{3E6C3280-AC2F-4C7A-9AEF-783694AD9125}" destId="{DC648DE9-BDDE-47A8-81F3-A959FD1297ED}" srcOrd="0" destOrd="0" parTransId="{E5A2F4F1-367B-4665-A7C8-AD9CA5ABEC2C}" sibTransId="{3E932220-C1A7-4DE7-839E-003C78B72851}"/>
    <dgm:cxn modelId="{3301BECE-865E-4810-8C50-ABDB03F11591}" type="presOf" srcId="{8CC2767A-485D-4301-825B-35A75D32D313}" destId="{5B8F671E-5E77-48D4-AD23-415D145D72FF}" srcOrd="0" destOrd="0" presId="urn:microsoft.com/office/officeart/2005/8/layout/hierarchy3"/>
    <dgm:cxn modelId="{C5A5B7D7-006B-4998-8A19-CBC33A20BCB1}" type="presOf" srcId="{80609054-2891-4980-B58E-C723EA7FBF7F}" destId="{31775304-2651-453F-BE24-5761B5BBEB7E}" srcOrd="0" destOrd="0" presId="urn:microsoft.com/office/officeart/2005/8/layout/hierarchy3"/>
    <dgm:cxn modelId="{E1ED4EE2-E3AB-4084-B183-42741FF4A29E}" srcId="{5F64E49C-400F-482F-932E-690765A0C022}" destId="{F17F1358-CD5D-4C61-A104-38FAD3DCE1E0}" srcOrd="1" destOrd="0" parTransId="{1D979EB2-6C66-4EB5-8CD3-C2EE4CB89D9C}" sibTransId="{6AF437D9-F12C-4FB1-B037-870DD31C1775}"/>
    <dgm:cxn modelId="{341D6CE4-37F6-4BF5-9B03-42DC09D416DE}" type="presOf" srcId="{1D979EB2-6C66-4EB5-8CD3-C2EE4CB89D9C}" destId="{82715789-5A6E-42E7-AE77-4CCA967CF352}" srcOrd="0" destOrd="0" presId="urn:microsoft.com/office/officeart/2005/8/layout/hierarchy3"/>
    <dgm:cxn modelId="{0A64E5E6-D41C-4415-9638-0EA5C92384B6}" type="presOf" srcId="{E41ED792-3296-4435-B02A-CE0999187114}" destId="{20401F6E-2218-4903-935B-57A86E61C90F}" srcOrd="0" destOrd="0" presId="urn:microsoft.com/office/officeart/2005/8/layout/hierarchy3"/>
    <dgm:cxn modelId="{4A00AEE9-846E-4D59-88A8-3592B194F874}" srcId="{5F64E49C-400F-482F-932E-690765A0C022}" destId="{BAC722E1-27E2-488A-8921-87D1A70D96DA}" srcOrd="3" destOrd="0" parTransId="{80609054-2891-4980-B58E-C723EA7FBF7F}" sibTransId="{2E13CE31-357A-4322-A040-4997982119CD}"/>
    <dgm:cxn modelId="{3C8A14EA-6067-4B7C-860F-22FCA33AB9BF}" type="presOf" srcId="{DC648DE9-BDDE-47A8-81F3-A959FD1297ED}" destId="{A5C9992D-A915-4490-ACC7-ABD9AC8810AA}" srcOrd="0" destOrd="0" presId="urn:microsoft.com/office/officeart/2005/8/layout/hierarchy3"/>
    <dgm:cxn modelId="{7F4073A9-D188-494C-9762-53B25D48ABB1}" type="presParOf" srcId="{E70590A1-CB01-42ED-8C65-49DC0EF7BFCF}" destId="{4351C1D7-3B9A-469C-9872-E64D1675B52B}" srcOrd="0" destOrd="0" presId="urn:microsoft.com/office/officeart/2005/8/layout/hierarchy3"/>
    <dgm:cxn modelId="{75C77001-04E0-4F60-900B-8A8570F67E69}" type="presParOf" srcId="{4351C1D7-3B9A-469C-9872-E64D1675B52B}" destId="{7B6A32A6-A91F-481E-BF3C-567CD07F9EBB}" srcOrd="0" destOrd="0" presId="urn:microsoft.com/office/officeart/2005/8/layout/hierarchy3"/>
    <dgm:cxn modelId="{2411DBA9-E39F-4699-9822-901E8CF7E27D}" type="presParOf" srcId="{7B6A32A6-A91F-481E-BF3C-567CD07F9EBB}" destId="{D2B160AE-60EE-49B1-AB0B-296A6F051F5D}" srcOrd="0" destOrd="0" presId="urn:microsoft.com/office/officeart/2005/8/layout/hierarchy3"/>
    <dgm:cxn modelId="{3CCD8760-33FF-46EF-8716-6F66F4BC3283}" type="presParOf" srcId="{7B6A32A6-A91F-481E-BF3C-567CD07F9EBB}" destId="{66AF27FE-DEEE-4493-8AB6-2DF75BD76863}" srcOrd="1" destOrd="0" presId="urn:microsoft.com/office/officeart/2005/8/layout/hierarchy3"/>
    <dgm:cxn modelId="{9340DBA3-9F45-49D9-8EE5-8CEB1AC13E5B}" type="presParOf" srcId="{4351C1D7-3B9A-469C-9872-E64D1675B52B}" destId="{7E6EDE5B-5DCC-483F-BDEE-F8B742382690}" srcOrd="1" destOrd="0" presId="urn:microsoft.com/office/officeart/2005/8/layout/hierarchy3"/>
    <dgm:cxn modelId="{A41E64E0-DCCC-4387-8821-1DA4EE953C81}" type="presParOf" srcId="{7E6EDE5B-5DCC-483F-BDEE-F8B742382690}" destId="{2880CEAC-AF94-4C40-9A65-AB091322C543}" srcOrd="0" destOrd="0" presId="urn:microsoft.com/office/officeart/2005/8/layout/hierarchy3"/>
    <dgm:cxn modelId="{9B111AF6-6423-4493-B241-8BDA7AA495CA}" type="presParOf" srcId="{7E6EDE5B-5DCC-483F-BDEE-F8B742382690}" destId="{BE348649-D026-4AD6-85CA-2B877E9CAC35}" srcOrd="1" destOrd="0" presId="urn:microsoft.com/office/officeart/2005/8/layout/hierarchy3"/>
    <dgm:cxn modelId="{6B31F224-7F79-4FCD-A52C-E9D3E67D1858}" type="presParOf" srcId="{7E6EDE5B-5DCC-483F-BDEE-F8B742382690}" destId="{82715789-5A6E-42E7-AE77-4CCA967CF352}" srcOrd="2" destOrd="0" presId="urn:microsoft.com/office/officeart/2005/8/layout/hierarchy3"/>
    <dgm:cxn modelId="{448DEB76-B66B-4951-AB65-721583812901}" type="presParOf" srcId="{7E6EDE5B-5DCC-483F-BDEE-F8B742382690}" destId="{708D8021-C0C5-469D-87AA-07CD20DD4549}" srcOrd="3" destOrd="0" presId="urn:microsoft.com/office/officeart/2005/8/layout/hierarchy3"/>
    <dgm:cxn modelId="{49E0D2F9-79F3-493C-8E5F-F90BC89EDDCE}" type="presParOf" srcId="{7E6EDE5B-5DCC-483F-BDEE-F8B742382690}" destId="{2937C455-D2D3-4F68-AB4C-42FDD485D8C6}" srcOrd="4" destOrd="0" presId="urn:microsoft.com/office/officeart/2005/8/layout/hierarchy3"/>
    <dgm:cxn modelId="{EC0F2470-4D34-4835-A088-1E4FCFBA5954}" type="presParOf" srcId="{7E6EDE5B-5DCC-483F-BDEE-F8B742382690}" destId="{4C3688E5-D649-458A-839E-2FA2629520C7}" srcOrd="5" destOrd="0" presId="urn:microsoft.com/office/officeart/2005/8/layout/hierarchy3"/>
    <dgm:cxn modelId="{00D8F09D-442C-40E2-A335-CAC2C3F42F74}" type="presParOf" srcId="{7E6EDE5B-5DCC-483F-BDEE-F8B742382690}" destId="{31775304-2651-453F-BE24-5761B5BBEB7E}" srcOrd="6" destOrd="0" presId="urn:microsoft.com/office/officeart/2005/8/layout/hierarchy3"/>
    <dgm:cxn modelId="{77D3D870-D1E9-4553-9A2C-707F4BC88203}" type="presParOf" srcId="{7E6EDE5B-5DCC-483F-BDEE-F8B742382690}" destId="{6A61774E-83D5-4C66-A999-6CF5CF49A64C}" srcOrd="7" destOrd="0" presId="urn:microsoft.com/office/officeart/2005/8/layout/hierarchy3"/>
    <dgm:cxn modelId="{90D59F99-9644-4E5A-BA42-D2C0C2548BB4}" type="presParOf" srcId="{E70590A1-CB01-42ED-8C65-49DC0EF7BFCF}" destId="{9E4CA38E-236B-414C-937B-65B84A432F52}" srcOrd="1" destOrd="0" presId="urn:microsoft.com/office/officeart/2005/8/layout/hierarchy3"/>
    <dgm:cxn modelId="{DBF5F789-CF8D-4D27-A141-746333BECD95}" type="presParOf" srcId="{9E4CA38E-236B-414C-937B-65B84A432F52}" destId="{FA55899F-4636-465C-85F6-D23E39502DBD}" srcOrd="0" destOrd="0" presId="urn:microsoft.com/office/officeart/2005/8/layout/hierarchy3"/>
    <dgm:cxn modelId="{D23B518E-DBE7-456F-A655-A062760486F0}" type="presParOf" srcId="{FA55899F-4636-465C-85F6-D23E39502DBD}" destId="{67C2E270-FB59-4561-A7E8-476C78CD8D65}" srcOrd="0" destOrd="0" presId="urn:microsoft.com/office/officeart/2005/8/layout/hierarchy3"/>
    <dgm:cxn modelId="{AD53B8E5-C39A-4B2D-84CD-7BD53FD18B66}" type="presParOf" srcId="{FA55899F-4636-465C-85F6-D23E39502DBD}" destId="{FC1076BF-86E3-43BF-8D53-667BA5403AA5}" srcOrd="1" destOrd="0" presId="urn:microsoft.com/office/officeart/2005/8/layout/hierarchy3"/>
    <dgm:cxn modelId="{F72EC414-02AC-4E00-820F-54238FE08BAA}" type="presParOf" srcId="{9E4CA38E-236B-414C-937B-65B84A432F52}" destId="{4288AC2B-1765-4A47-A5DC-0F21AA7DD0D4}" srcOrd="1" destOrd="0" presId="urn:microsoft.com/office/officeart/2005/8/layout/hierarchy3"/>
    <dgm:cxn modelId="{3669207A-7BB1-41A9-9623-9530350FE5ED}" type="presParOf" srcId="{4288AC2B-1765-4A47-A5DC-0F21AA7DD0D4}" destId="{7600C868-8761-4D6B-970B-F745E516C266}" srcOrd="0" destOrd="0" presId="urn:microsoft.com/office/officeart/2005/8/layout/hierarchy3"/>
    <dgm:cxn modelId="{1E484C21-4767-451B-975C-1019947986E0}" type="presParOf" srcId="{4288AC2B-1765-4A47-A5DC-0F21AA7DD0D4}" destId="{A5C9992D-A915-4490-ACC7-ABD9AC8810AA}" srcOrd="1" destOrd="0" presId="urn:microsoft.com/office/officeart/2005/8/layout/hierarchy3"/>
    <dgm:cxn modelId="{111C5EBC-6996-46C8-AB35-80DADDA954DB}" type="presParOf" srcId="{4288AC2B-1765-4A47-A5DC-0F21AA7DD0D4}" destId="{0F5C3FBD-F0D7-457A-8A3D-F894E135081D}" srcOrd="2" destOrd="0" presId="urn:microsoft.com/office/officeart/2005/8/layout/hierarchy3"/>
    <dgm:cxn modelId="{2F90C6BB-437C-4E50-A557-F832FF216AC0}" type="presParOf" srcId="{4288AC2B-1765-4A47-A5DC-0F21AA7DD0D4}" destId="{0D4EFF92-B00F-433D-8E13-404EC2F306DD}" srcOrd="3" destOrd="0" presId="urn:microsoft.com/office/officeart/2005/8/layout/hierarchy3"/>
    <dgm:cxn modelId="{F98C808B-C11F-4DB0-9ADE-438566C2BB68}" type="presParOf" srcId="{4288AC2B-1765-4A47-A5DC-0F21AA7DD0D4}" destId="{5B8F671E-5E77-48D4-AD23-415D145D72FF}" srcOrd="4" destOrd="0" presId="urn:microsoft.com/office/officeart/2005/8/layout/hierarchy3"/>
    <dgm:cxn modelId="{445F1829-623C-4E31-B94A-F00158C5661C}" type="presParOf" srcId="{4288AC2B-1765-4A47-A5DC-0F21AA7DD0D4}" destId="{B1758A4B-FB01-4E33-B580-15E296A5DAF6}" srcOrd="5" destOrd="0" presId="urn:microsoft.com/office/officeart/2005/8/layout/hierarchy3"/>
    <dgm:cxn modelId="{BC72CD9B-3B43-48DA-B82E-8215539B765A}" type="presParOf" srcId="{4288AC2B-1765-4A47-A5DC-0F21AA7DD0D4}" destId="{924D06F6-7185-4D77-992C-D0E42528A2B9}" srcOrd="6" destOrd="0" presId="urn:microsoft.com/office/officeart/2005/8/layout/hierarchy3"/>
    <dgm:cxn modelId="{4DDF8161-70B5-4EED-8EF1-C0052E4B30C3}" type="presParOf" srcId="{4288AC2B-1765-4A47-A5DC-0F21AA7DD0D4}" destId="{20401F6E-2218-4903-935B-57A86E61C90F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7CE0BB8-A326-429F-A594-0E3DD11B0FA6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CH"/>
        </a:p>
      </dgm:t>
    </dgm:pt>
    <dgm:pt modelId="{01A7B1B1-CE59-436E-B026-00284F1342FE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pPr algn="l"/>
          <a:r>
            <a:rPr lang="de-CH" dirty="0"/>
            <a:t>Abends</a:t>
          </a:r>
          <a:br>
            <a:rPr lang="de-CH" dirty="0"/>
          </a:br>
          <a:r>
            <a:rPr lang="de-CH" dirty="0"/>
            <a:t>von…</a:t>
          </a:r>
        </a:p>
      </dgm:t>
    </dgm:pt>
    <dgm:pt modelId="{DDE6AACF-6CB8-4853-BAC8-5D7980A8CBAA}" type="parTrans" cxnId="{CE6CFF20-787F-46B0-B506-8696519A8548}">
      <dgm:prSet/>
      <dgm:spPr/>
      <dgm:t>
        <a:bodyPr/>
        <a:lstStyle/>
        <a:p>
          <a:endParaRPr lang="de-CH"/>
        </a:p>
      </dgm:t>
    </dgm:pt>
    <dgm:pt modelId="{BAE2E178-B13B-4C5D-9852-6B5F5C638266}" type="sibTrans" cxnId="{CE6CFF20-787F-46B0-B506-8696519A8548}">
      <dgm:prSet/>
      <dgm:spPr/>
      <dgm:t>
        <a:bodyPr/>
        <a:lstStyle/>
        <a:p>
          <a:endParaRPr lang="de-CH"/>
        </a:p>
      </dgm:t>
    </dgm:pt>
    <dgm:pt modelId="{6A587132-273B-4205-A489-FA8638966C5C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18:10 Uhr</a:t>
          </a:r>
        </a:p>
      </dgm:t>
    </dgm:pt>
    <dgm:pt modelId="{F5CD96FB-03D0-453A-A57A-EC12335AD19C}" type="parTrans" cxnId="{5E2ED6D4-4E89-4603-86C1-F1CE350CCF6F}">
      <dgm:prSet/>
      <dgm:spPr/>
      <dgm:t>
        <a:bodyPr/>
        <a:lstStyle/>
        <a:p>
          <a:endParaRPr lang="de-CH"/>
        </a:p>
      </dgm:t>
    </dgm:pt>
    <dgm:pt modelId="{293BE61A-F222-4ED2-949A-3DF31D842AA5}" type="sibTrans" cxnId="{5E2ED6D4-4E89-4603-86C1-F1CE350CCF6F}">
      <dgm:prSet/>
      <dgm:spPr/>
      <dgm:t>
        <a:bodyPr/>
        <a:lstStyle/>
        <a:p>
          <a:endParaRPr lang="de-CH"/>
        </a:p>
      </dgm:t>
    </dgm:pt>
    <dgm:pt modelId="{806EF21C-B099-4594-B2CF-5BCC22B303BC}">
      <dgm:prSet phldrT="[Text]"/>
      <dgm:spPr>
        <a:ln>
          <a:noFill/>
        </a:ln>
      </dgm:spPr>
      <dgm:t>
        <a:bodyPr/>
        <a:lstStyle/>
        <a:p>
          <a:r>
            <a:rPr lang="de-CH" dirty="0"/>
            <a:t>bis</a:t>
          </a:r>
        </a:p>
      </dgm:t>
    </dgm:pt>
    <dgm:pt modelId="{1361C8C7-EE73-4017-ABB1-61EB3C9F0E42}" type="parTrans" cxnId="{D539807B-2771-464D-9EAA-53ECA6738C78}">
      <dgm:prSet/>
      <dgm:spPr>
        <a:ln>
          <a:noFill/>
        </a:ln>
      </dgm:spPr>
      <dgm:t>
        <a:bodyPr/>
        <a:lstStyle/>
        <a:p>
          <a:endParaRPr lang="de-CH"/>
        </a:p>
      </dgm:t>
    </dgm:pt>
    <dgm:pt modelId="{AEFD9A1E-D477-439E-AC11-D1BD8D7CBC27}" type="sibTrans" cxnId="{D539807B-2771-464D-9EAA-53ECA6738C78}">
      <dgm:prSet/>
      <dgm:spPr/>
      <dgm:t>
        <a:bodyPr/>
        <a:lstStyle/>
        <a:p>
          <a:endParaRPr lang="de-CH"/>
        </a:p>
      </dgm:t>
    </dgm:pt>
    <dgm:pt modelId="{2CD5DE3D-0B25-49BF-A245-E854C9CE7E4F}">
      <dgm:prSet phldrT="[Text]"/>
      <dgm:spPr>
        <a:solidFill>
          <a:schemeClr val="bg1">
            <a:lumMod val="85000"/>
            <a:alpha val="90000"/>
          </a:schemeClr>
        </a:solidFill>
        <a:ln>
          <a:noFill/>
        </a:ln>
      </dgm:spPr>
      <dgm:t>
        <a:bodyPr/>
        <a:lstStyle/>
        <a:p>
          <a:r>
            <a:rPr lang="de-CH" dirty="0"/>
            <a:t>21:50 Uhr</a:t>
          </a:r>
        </a:p>
      </dgm:t>
    </dgm:pt>
    <dgm:pt modelId="{924B1A7E-B826-4BB0-8EF1-B0AC649F5B87}" type="parTrans" cxnId="{20C7EB7E-7C39-4A0C-B3EC-1E268127977B}">
      <dgm:prSet/>
      <dgm:spPr/>
      <dgm:t>
        <a:bodyPr/>
        <a:lstStyle/>
        <a:p>
          <a:endParaRPr lang="de-CH"/>
        </a:p>
      </dgm:t>
    </dgm:pt>
    <dgm:pt modelId="{EC563C2A-D179-4396-8E58-FAF6A3D4BC77}" type="sibTrans" cxnId="{20C7EB7E-7C39-4A0C-B3EC-1E268127977B}">
      <dgm:prSet/>
      <dgm:spPr/>
      <dgm:t>
        <a:bodyPr/>
        <a:lstStyle/>
        <a:p>
          <a:endParaRPr lang="de-CH"/>
        </a:p>
      </dgm:t>
    </dgm:pt>
    <dgm:pt modelId="{7BDBCFF2-147B-49CB-8B65-4DA8F0922AAD}">
      <dgm:prSet phldrT="[Text]"/>
      <dgm:spPr>
        <a:noFill/>
        <a:ln>
          <a:noFill/>
        </a:ln>
      </dgm:spPr>
      <dgm:t>
        <a:bodyPr/>
        <a:lstStyle/>
        <a:p>
          <a:pPr algn="l"/>
          <a:endParaRPr lang="de-CH" dirty="0"/>
        </a:p>
      </dgm:t>
    </dgm:pt>
    <dgm:pt modelId="{4BCD8319-64C9-432E-BA12-C2D26B49BFE6}" type="parTrans" cxnId="{C8CA8A08-ED71-4762-A828-500BB6AAFBEC}">
      <dgm:prSet/>
      <dgm:spPr>
        <a:noFill/>
        <a:ln>
          <a:noFill/>
        </a:ln>
      </dgm:spPr>
      <dgm:t>
        <a:bodyPr/>
        <a:lstStyle/>
        <a:p>
          <a:endParaRPr lang="de-CH"/>
        </a:p>
      </dgm:t>
    </dgm:pt>
    <dgm:pt modelId="{A4D76997-24ED-4B31-AB9E-79A548470FE9}" type="sibTrans" cxnId="{C8CA8A08-ED71-4762-A828-500BB6AAFBEC}">
      <dgm:prSet/>
      <dgm:spPr/>
      <dgm:t>
        <a:bodyPr/>
        <a:lstStyle/>
        <a:p>
          <a:endParaRPr lang="de-CH"/>
        </a:p>
      </dgm:t>
    </dgm:pt>
    <dgm:pt modelId="{E70590A1-CB01-42ED-8C65-49DC0EF7BFCF}" type="pres">
      <dgm:prSet presAssocID="{E7CE0BB8-A326-429F-A594-0E3DD11B0FA6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B99A5C08-291D-495E-B605-44391234B86D}" type="pres">
      <dgm:prSet presAssocID="{01A7B1B1-CE59-436E-B026-00284F1342FE}" presName="root" presStyleCnt="0"/>
      <dgm:spPr/>
    </dgm:pt>
    <dgm:pt modelId="{89A92BDF-B959-4160-8E20-68391CBF0155}" type="pres">
      <dgm:prSet presAssocID="{01A7B1B1-CE59-436E-B026-00284F1342FE}" presName="rootComposite" presStyleCnt="0"/>
      <dgm:spPr/>
    </dgm:pt>
    <dgm:pt modelId="{FAF89C5A-7A86-4798-8D7C-6493155A2469}" type="pres">
      <dgm:prSet presAssocID="{01A7B1B1-CE59-436E-B026-00284F1342FE}" presName="rootText" presStyleLbl="node1" presStyleIdx="0" presStyleCnt="1" custScaleX="124497" custScaleY="127474"/>
      <dgm:spPr/>
    </dgm:pt>
    <dgm:pt modelId="{AC3F0DCD-B575-4F76-93DC-D90C4B2CF804}" type="pres">
      <dgm:prSet presAssocID="{01A7B1B1-CE59-436E-B026-00284F1342FE}" presName="rootConnector" presStyleLbl="node1" presStyleIdx="0" presStyleCnt="1"/>
      <dgm:spPr/>
    </dgm:pt>
    <dgm:pt modelId="{493E952A-5B84-4DA1-9FD2-229522C3550F}" type="pres">
      <dgm:prSet presAssocID="{01A7B1B1-CE59-436E-B026-00284F1342FE}" presName="childShape" presStyleCnt="0"/>
      <dgm:spPr/>
    </dgm:pt>
    <dgm:pt modelId="{BE3EAFF3-E1C7-4061-8753-EBACC9EDA0AF}" type="pres">
      <dgm:prSet presAssocID="{4BCD8319-64C9-432E-BA12-C2D26B49BFE6}" presName="Name13" presStyleLbl="parChTrans1D2" presStyleIdx="0" presStyleCnt="4"/>
      <dgm:spPr/>
    </dgm:pt>
    <dgm:pt modelId="{7F8FE4A9-0DE9-49DD-810F-605F5E5FF114}" type="pres">
      <dgm:prSet presAssocID="{7BDBCFF2-147B-49CB-8B65-4DA8F0922AAD}" presName="childText" presStyleLbl="bgAcc1" presStyleIdx="0" presStyleCnt="4">
        <dgm:presLayoutVars>
          <dgm:bulletEnabled val="1"/>
        </dgm:presLayoutVars>
      </dgm:prSet>
      <dgm:spPr/>
    </dgm:pt>
    <dgm:pt modelId="{F88DB0F4-A17F-4688-95B1-5FA6C6295493}" type="pres">
      <dgm:prSet presAssocID="{F5CD96FB-03D0-453A-A57A-EC12335AD19C}" presName="Name13" presStyleLbl="parChTrans1D2" presStyleIdx="1" presStyleCnt="4"/>
      <dgm:spPr/>
    </dgm:pt>
    <dgm:pt modelId="{2925C952-3C69-4BC8-8352-D45A11665B31}" type="pres">
      <dgm:prSet presAssocID="{6A587132-273B-4205-A489-FA8638966C5C}" presName="childText" presStyleLbl="bgAcc1" presStyleIdx="1" presStyleCnt="4" custScaleX="124497">
        <dgm:presLayoutVars>
          <dgm:bulletEnabled val="1"/>
        </dgm:presLayoutVars>
      </dgm:prSet>
      <dgm:spPr/>
    </dgm:pt>
    <dgm:pt modelId="{EAAEDE6B-8CD4-4EFC-92C6-DE3061D75F24}" type="pres">
      <dgm:prSet presAssocID="{1361C8C7-EE73-4017-ABB1-61EB3C9F0E42}" presName="Name13" presStyleLbl="parChTrans1D2" presStyleIdx="2" presStyleCnt="4"/>
      <dgm:spPr/>
    </dgm:pt>
    <dgm:pt modelId="{03C82D46-1174-4CED-825B-3A011305C6ED}" type="pres">
      <dgm:prSet presAssocID="{806EF21C-B099-4594-B2CF-5BCC22B303BC}" presName="childText" presStyleLbl="bgAcc1" presStyleIdx="2" presStyleCnt="4" custScaleX="124497">
        <dgm:presLayoutVars>
          <dgm:bulletEnabled val="1"/>
        </dgm:presLayoutVars>
      </dgm:prSet>
      <dgm:spPr/>
    </dgm:pt>
    <dgm:pt modelId="{2A0EE326-4461-49A0-8B28-B96F6D74D1B5}" type="pres">
      <dgm:prSet presAssocID="{924B1A7E-B826-4BB0-8EF1-B0AC649F5B87}" presName="Name13" presStyleLbl="parChTrans1D2" presStyleIdx="3" presStyleCnt="4"/>
      <dgm:spPr/>
    </dgm:pt>
    <dgm:pt modelId="{55815F01-5A78-42B0-8152-CF4C68EABA67}" type="pres">
      <dgm:prSet presAssocID="{2CD5DE3D-0B25-49BF-A245-E854C9CE7E4F}" presName="childText" presStyleLbl="bgAcc1" presStyleIdx="3" presStyleCnt="4" custScaleX="124497">
        <dgm:presLayoutVars>
          <dgm:bulletEnabled val="1"/>
        </dgm:presLayoutVars>
      </dgm:prSet>
      <dgm:spPr/>
    </dgm:pt>
  </dgm:ptLst>
  <dgm:cxnLst>
    <dgm:cxn modelId="{622BCB02-7D73-4B74-B289-9CB4B7B2485C}" type="presOf" srcId="{806EF21C-B099-4594-B2CF-5BCC22B303BC}" destId="{03C82D46-1174-4CED-825B-3A011305C6ED}" srcOrd="0" destOrd="0" presId="urn:microsoft.com/office/officeart/2005/8/layout/hierarchy3"/>
    <dgm:cxn modelId="{C8CA8A08-ED71-4762-A828-500BB6AAFBEC}" srcId="{01A7B1B1-CE59-436E-B026-00284F1342FE}" destId="{7BDBCFF2-147B-49CB-8B65-4DA8F0922AAD}" srcOrd="0" destOrd="0" parTransId="{4BCD8319-64C9-432E-BA12-C2D26B49BFE6}" sibTransId="{A4D76997-24ED-4B31-AB9E-79A548470FE9}"/>
    <dgm:cxn modelId="{3D306618-3789-44B0-ABD0-D21AB5DE8C7E}" type="presOf" srcId="{F5CD96FB-03D0-453A-A57A-EC12335AD19C}" destId="{F88DB0F4-A17F-4688-95B1-5FA6C6295493}" srcOrd="0" destOrd="0" presId="urn:microsoft.com/office/officeart/2005/8/layout/hierarchy3"/>
    <dgm:cxn modelId="{0C2B931C-C586-4FC7-B1F7-27691C5B88F6}" type="presOf" srcId="{1361C8C7-EE73-4017-ABB1-61EB3C9F0E42}" destId="{EAAEDE6B-8CD4-4EFC-92C6-DE3061D75F24}" srcOrd="0" destOrd="0" presId="urn:microsoft.com/office/officeart/2005/8/layout/hierarchy3"/>
    <dgm:cxn modelId="{9BD4621E-DE0A-409A-8128-6A3B43479DCA}" type="presOf" srcId="{E7CE0BB8-A326-429F-A594-0E3DD11B0FA6}" destId="{E70590A1-CB01-42ED-8C65-49DC0EF7BFCF}" srcOrd="0" destOrd="0" presId="urn:microsoft.com/office/officeart/2005/8/layout/hierarchy3"/>
    <dgm:cxn modelId="{CE6CFF20-787F-46B0-B506-8696519A8548}" srcId="{E7CE0BB8-A326-429F-A594-0E3DD11B0FA6}" destId="{01A7B1B1-CE59-436E-B026-00284F1342FE}" srcOrd="0" destOrd="0" parTransId="{DDE6AACF-6CB8-4853-BAC8-5D7980A8CBAA}" sibTransId="{BAE2E178-B13B-4C5D-9852-6B5F5C638266}"/>
    <dgm:cxn modelId="{9B994839-FCB3-48E7-AE89-0832A95ADC1F}" type="presOf" srcId="{01A7B1B1-CE59-436E-B026-00284F1342FE}" destId="{AC3F0DCD-B575-4F76-93DC-D90C4B2CF804}" srcOrd="1" destOrd="0" presId="urn:microsoft.com/office/officeart/2005/8/layout/hierarchy3"/>
    <dgm:cxn modelId="{E0369C69-F1E5-4933-9212-4BC52C863230}" type="presOf" srcId="{2CD5DE3D-0B25-49BF-A245-E854C9CE7E4F}" destId="{55815F01-5A78-42B0-8152-CF4C68EABA67}" srcOrd="0" destOrd="0" presId="urn:microsoft.com/office/officeart/2005/8/layout/hierarchy3"/>
    <dgm:cxn modelId="{8F82554B-8D0D-44B3-B1C9-13D7182D1214}" type="presOf" srcId="{01A7B1B1-CE59-436E-B026-00284F1342FE}" destId="{FAF89C5A-7A86-4798-8D7C-6493155A2469}" srcOrd="0" destOrd="0" presId="urn:microsoft.com/office/officeart/2005/8/layout/hierarchy3"/>
    <dgm:cxn modelId="{1B8B9974-EB9C-485F-8101-B75AEC9666AA}" type="presOf" srcId="{7BDBCFF2-147B-49CB-8B65-4DA8F0922AAD}" destId="{7F8FE4A9-0DE9-49DD-810F-605F5E5FF114}" srcOrd="0" destOrd="0" presId="urn:microsoft.com/office/officeart/2005/8/layout/hierarchy3"/>
    <dgm:cxn modelId="{59C46F75-2869-4B80-8DEE-9278E6B109F4}" type="presOf" srcId="{4BCD8319-64C9-432E-BA12-C2D26B49BFE6}" destId="{BE3EAFF3-E1C7-4061-8753-EBACC9EDA0AF}" srcOrd="0" destOrd="0" presId="urn:microsoft.com/office/officeart/2005/8/layout/hierarchy3"/>
    <dgm:cxn modelId="{D539807B-2771-464D-9EAA-53ECA6738C78}" srcId="{01A7B1B1-CE59-436E-B026-00284F1342FE}" destId="{806EF21C-B099-4594-B2CF-5BCC22B303BC}" srcOrd="2" destOrd="0" parTransId="{1361C8C7-EE73-4017-ABB1-61EB3C9F0E42}" sibTransId="{AEFD9A1E-D477-439E-AC11-D1BD8D7CBC27}"/>
    <dgm:cxn modelId="{20C7EB7E-7C39-4A0C-B3EC-1E268127977B}" srcId="{01A7B1B1-CE59-436E-B026-00284F1342FE}" destId="{2CD5DE3D-0B25-49BF-A245-E854C9CE7E4F}" srcOrd="3" destOrd="0" parTransId="{924B1A7E-B826-4BB0-8EF1-B0AC649F5B87}" sibTransId="{EC563C2A-D179-4396-8E58-FAF6A3D4BC77}"/>
    <dgm:cxn modelId="{AA385A8F-43E9-4031-87E4-348F2D05C5C1}" type="presOf" srcId="{6A587132-273B-4205-A489-FA8638966C5C}" destId="{2925C952-3C69-4BC8-8352-D45A11665B31}" srcOrd="0" destOrd="0" presId="urn:microsoft.com/office/officeart/2005/8/layout/hierarchy3"/>
    <dgm:cxn modelId="{5E2ED6D4-4E89-4603-86C1-F1CE350CCF6F}" srcId="{01A7B1B1-CE59-436E-B026-00284F1342FE}" destId="{6A587132-273B-4205-A489-FA8638966C5C}" srcOrd="1" destOrd="0" parTransId="{F5CD96FB-03D0-453A-A57A-EC12335AD19C}" sibTransId="{293BE61A-F222-4ED2-949A-3DF31D842AA5}"/>
    <dgm:cxn modelId="{69DE7DFF-5522-42C4-9299-1C5EF7D26A5B}" type="presOf" srcId="{924B1A7E-B826-4BB0-8EF1-B0AC649F5B87}" destId="{2A0EE326-4461-49A0-8B28-B96F6D74D1B5}" srcOrd="0" destOrd="0" presId="urn:microsoft.com/office/officeart/2005/8/layout/hierarchy3"/>
    <dgm:cxn modelId="{C37B5B48-E007-468E-8C99-83EE9CFD4325}" type="presParOf" srcId="{E70590A1-CB01-42ED-8C65-49DC0EF7BFCF}" destId="{B99A5C08-291D-495E-B605-44391234B86D}" srcOrd="0" destOrd="0" presId="urn:microsoft.com/office/officeart/2005/8/layout/hierarchy3"/>
    <dgm:cxn modelId="{FEAD158C-7DC3-4905-AA70-846C013C1D3E}" type="presParOf" srcId="{B99A5C08-291D-495E-B605-44391234B86D}" destId="{89A92BDF-B959-4160-8E20-68391CBF0155}" srcOrd="0" destOrd="0" presId="urn:microsoft.com/office/officeart/2005/8/layout/hierarchy3"/>
    <dgm:cxn modelId="{F56F4567-7575-4296-8600-E81092BF4F06}" type="presParOf" srcId="{89A92BDF-B959-4160-8E20-68391CBF0155}" destId="{FAF89C5A-7A86-4798-8D7C-6493155A2469}" srcOrd="0" destOrd="0" presId="urn:microsoft.com/office/officeart/2005/8/layout/hierarchy3"/>
    <dgm:cxn modelId="{E751F6C3-CBE5-4072-8109-F3411E41B08C}" type="presParOf" srcId="{89A92BDF-B959-4160-8E20-68391CBF0155}" destId="{AC3F0DCD-B575-4F76-93DC-D90C4B2CF804}" srcOrd="1" destOrd="0" presId="urn:microsoft.com/office/officeart/2005/8/layout/hierarchy3"/>
    <dgm:cxn modelId="{7E65161B-9BE5-440A-83E1-C61AB3C94406}" type="presParOf" srcId="{B99A5C08-291D-495E-B605-44391234B86D}" destId="{493E952A-5B84-4DA1-9FD2-229522C3550F}" srcOrd="1" destOrd="0" presId="urn:microsoft.com/office/officeart/2005/8/layout/hierarchy3"/>
    <dgm:cxn modelId="{BBF50165-C161-48B0-9668-B407C8682D30}" type="presParOf" srcId="{493E952A-5B84-4DA1-9FD2-229522C3550F}" destId="{BE3EAFF3-E1C7-4061-8753-EBACC9EDA0AF}" srcOrd="0" destOrd="0" presId="urn:microsoft.com/office/officeart/2005/8/layout/hierarchy3"/>
    <dgm:cxn modelId="{8AFF2B07-A6B9-4395-98A6-EF48AA09C87F}" type="presParOf" srcId="{493E952A-5B84-4DA1-9FD2-229522C3550F}" destId="{7F8FE4A9-0DE9-49DD-810F-605F5E5FF114}" srcOrd="1" destOrd="0" presId="urn:microsoft.com/office/officeart/2005/8/layout/hierarchy3"/>
    <dgm:cxn modelId="{53E562EE-E977-4687-9653-15ABF10040FD}" type="presParOf" srcId="{493E952A-5B84-4DA1-9FD2-229522C3550F}" destId="{F88DB0F4-A17F-4688-95B1-5FA6C6295493}" srcOrd="2" destOrd="0" presId="urn:microsoft.com/office/officeart/2005/8/layout/hierarchy3"/>
    <dgm:cxn modelId="{01A3BB01-DE49-4C8F-B4E8-D4E76A45D0BE}" type="presParOf" srcId="{493E952A-5B84-4DA1-9FD2-229522C3550F}" destId="{2925C952-3C69-4BC8-8352-D45A11665B31}" srcOrd="3" destOrd="0" presId="urn:microsoft.com/office/officeart/2005/8/layout/hierarchy3"/>
    <dgm:cxn modelId="{C8CAC8E0-FCAC-4DA3-AFC3-30DD50077954}" type="presParOf" srcId="{493E952A-5B84-4DA1-9FD2-229522C3550F}" destId="{EAAEDE6B-8CD4-4EFC-92C6-DE3061D75F24}" srcOrd="4" destOrd="0" presId="urn:microsoft.com/office/officeart/2005/8/layout/hierarchy3"/>
    <dgm:cxn modelId="{2D5EF161-C225-4EFF-BEDE-B16F7ADCC58F}" type="presParOf" srcId="{493E952A-5B84-4DA1-9FD2-229522C3550F}" destId="{03C82D46-1174-4CED-825B-3A011305C6ED}" srcOrd="5" destOrd="0" presId="urn:microsoft.com/office/officeart/2005/8/layout/hierarchy3"/>
    <dgm:cxn modelId="{4250EC1B-F1E2-4A29-800F-6B824FA22E12}" type="presParOf" srcId="{493E952A-5B84-4DA1-9FD2-229522C3550F}" destId="{2A0EE326-4461-49A0-8B28-B96F6D74D1B5}" srcOrd="6" destOrd="0" presId="urn:microsoft.com/office/officeart/2005/8/layout/hierarchy3"/>
    <dgm:cxn modelId="{1A3AB950-0266-420E-B36D-DAC647CCEC64}" type="presParOf" srcId="{493E952A-5B84-4DA1-9FD2-229522C3550F}" destId="{55815F01-5A78-42B0-8152-CF4C68EABA67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2B160AE-60EE-49B1-AB0B-296A6F051F5D}">
      <dsp:nvSpPr>
        <dsp:cNvPr id="0" name=""/>
        <dsp:cNvSpPr/>
      </dsp:nvSpPr>
      <dsp:spPr>
        <a:xfrm>
          <a:off x="442681" y="1610"/>
          <a:ext cx="1920379" cy="983149"/>
        </a:xfrm>
        <a:prstGeom prst="roundRect">
          <a:avLst>
            <a:gd name="adj" fmla="val 10000"/>
          </a:avLst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625" tIns="31750" rIns="47625" bIns="317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500" kern="1200" dirty="0"/>
            <a:t>Morgens</a:t>
          </a:r>
          <a:br>
            <a:rPr lang="de-CH" sz="2500" kern="1200" dirty="0"/>
          </a:br>
          <a:r>
            <a:rPr lang="de-CH" sz="2500" kern="1200" dirty="0"/>
            <a:t>von…</a:t>
          </a:r>
        </a:p>
      </dsp:txBody>
      <dsp:txXfrm>
        <a:off x="471476" y="30405"/>
        <a:ext cx="1862789" cy="925559"/>
      </dsp:txXfrm>
    </dsp:sp>
    <dsp:sp modelId="{2880CEAC-AF94-4C40-9A65-AB091322C543}">
      <dsp:nvSpPr>
        <dsp:cNvPr id="0" name=""/>
        <dsp:cNvSpPr/>
      </dsp:nvSpPr>
      <dsp:spPr>
        <a:xfrm>
          <a:off x="634719" y="984760"/>
          <a:ext cx="192037" cy="5784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78441"/>
              </a:lnTo>
              <a:lnTo>
                <a:pt x="192037" y="578441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E348649-D026-4AD6-85CA-2B877E9CAC35}">
      <dsp:nvSpPr>
        <dsp:cNvPr id="0" name=""/>
        <dsp:cNvSpPr/>
      </dsp:nvSpPr>
      <dsp:spPr>
        <a:xfrm>
          <a:off x="826757" y="1177574"/>
          <a:ext cx="1234008" cy="771255"/>
        </a:xfrm>
        <a:prstGeom prst="roundRect">
          <a:avLst>
            <a:gd name="adj" fmla="val 10000"/>
          </a:avLst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625" tIns="31750" rIns="47625" bIns="317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2500" kern="1200" dirty="0"/>
        </a:p>
      </dsp:txBody>
      <dsp:txXfrm>
        <a:off x="849346" y="1200163"/>
        <a:ext cx="1188830" cy="726077"/>
      </dsp:txXfrm>
    </dsp:sp>
    <dsp:sp modelId="{82715789-5A6E-42E7-AE77-4CCA967CF352}">
      <dsp:nvSpPr>
        <dsp:cNvPr id="0" name=""/>
        <dsp:cNvSpPr/>
      </dsp:nvSpPr>
      <dsp:spPr>
        <a:xfrm>
          <a:off x="634719" y="984760"/>
          <a:ext cx="192037" cy="15425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42510"/>
              </a:lnTo>
              <a:lnTo>
                <a:pt x="192037" y="154251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08D8021-C0C5-469D-87AA-07CD20DD4549}">
      <dsp:nvSpPr>
        <dsp:cNvPr id="0" name=""/>
        <dsp:cNvSpPr/>
      </dsp:nvSpPr>
      <dsp:spPr>
        <a:xfrm>
          <a:off x="826757" y="2141643"/>
          <a:ext cx="1536303" cy="771255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625" tIns="31750" rIns="47625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500" kern="1200" dirty="0"/>
            <a:t>08:15 Uhr</a:t>
          </a:r>
        </a:p>
      </dsp:txBody>
      <dsp:txXfrm>
        <a:off x="849346" y="2164232"/>
        <a:ext cx="1491125" cy="726077"/>
      </dsp:txXfrm>
    </dsp:sp>
    <dsp:sp modelId="{2937C455-D2D3-4F68-AB4C-42FDD485D8C6}">
      <dsp:nvSpPr>
        <dsp:cNvPr id="0" name=""/>
        <dsp:cNvSpPr/>
      </dsp:nvSpPr>
      <dsp:spPr>
        <a:xfrm>
          <a:off x="634719" y="984760"/>
          <a:ext cx="192037" cy="25065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06579"/>
              </a:lnTo>
              <a:lnTo>
                <a:pt x="192037" y="2506579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3688E5-D649-458A-839E-2FA2629520C7}">
      <dsp:nvSpPr>
        <dsp:cNvPr id="0" name=""/>
        <dsp:cNvSpPr/>
      </dsp:nvSpPr>
      <dsp:spPr>
        <a:xfrm>
          <a:off x="826757" y="3105712"/>
          <a:ext cx="1536303" cy="77125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625" tIns="31750" rIns="47625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500" kern="1200" dirty="0"/>
            <a:t>bis</a:t>
          </a:r>
        </a:p>
      </dsp:txBody>
      <dsp:txXfrm>
        <a:off x="849346" y="3128301"/>
        <a:ext cx="1491125" cy="726077"/>
      </dsp:txXfrm>
    </dsp:sp>
    <dsp:sp modelId="{31775304-2651-453F-BE24-5761B5BBEB7E}">
      <dsp:nvSpPr>
        <dsp:cNvPr id="0" name=""/>
        <dsp:cNvSpPr/>
      </dsp:nvSpPr>
      <dsp:spPr>
        <a:xfrm>
          <a:off x="634719" y="984760"/>
          <a:ext cx="192037" cy="34706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470648"/>
              </a:lnTo>
              <a:lnTo>
                <a:pt x="192037" y="3470648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A61774E-83D5-4C66-A999-6CF5CF49A64C}">
      <dsp:nvSpPr>
        <dsp:cNvPr id="0" name=""/>
        <dsp:cNvSpPr/>
      </dsp:nvSpPr>
      <dsp:spPr>
        <a:xfrm>
          <a:off x="826757" y="4069781"/>
          <a:ext cx="1536303" cy="771255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625" tIns="31750" rIns="47625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500" kern="1200" dirty="0"/>
            <a:t>11:55 Uhr</a:t>
          </a:r>
        </a:p>
      </dsp:txBody>
      <dsp:txXfrm>
        <a:off x="849346" y="4092370"/>
        <a:ext cx="1491125" cy="726077"/>
      </dsp:txXfrm>
    </dsp:sp>
    <dsp:sp modelId="{67C2E270-FB59-4561-A7E8-476C78CD8D65}">
      <dsp:nvSpPr>
        <dsp:cNvPr id="0" name=""/>
        <dsp:cNvSpPr/>
      </dsp:nvSpPr>
      <dsp:spPr>
        <a:xfrm>
          <a:off x="2748688" y="1610"/>
          <a:ext cx="1920379" cy="983149"/>
        </a:xfrm>
        <a:prstGeom prst="roundRect">
          <a:avLst>
            <a:gd name="adj" fmla="val 10000"/>
          </a:avLst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625" tIns="31750" rIns="47625" bIns="317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500" kern="1200" dirty="0"/>
            <a:t>Nachmittags</a:t>
          </a:r>
          <a:br>
            <a:rPr lang="de-CH" sz="2500" kern="1200" dirty="0"/>
          </a:br>
          <a:r>
            <a:rPr lang="de-CH" sz="2500" kern="1200" dirty="0"/>
            <a:t>von…</a:t>
          </a:r>
        </a:p>
      </dsp:txBody>
      <dsp:txXfrm>
        <a:off x="2777483" y="30405"/>
        <a:ext cx="1862789" cy="925559"/>
      </dsp:txXfrm>
    </dsp:sp>
    <dsp:sp modelId="{7600C868-8761-4D6B-970B-F745E516C266}">
      <dsp:nvSpPr>
        <dsp:cNvPr id="0" name=""/>
        <dsp:cNvSpPr/>
      </dsp:nvSpPr>
      <dsp:spPr>
        <a:xfrm>
          <a:off x="2940726" y="984760"/>
          <a:ext cx="192037" cy="5784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78441"/>
              </a:lnTo>
              <a:lnTo>
                <a:pt x="192037" y="578441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5C9992D-A915-4490-ACC7-ABD9AC8810AA}">
      <dsp:nvSpPr>
        <dsp:cNvPr id="0" name=""/>
        <dsp:cNvSpPr/>
      </dsp:nvSpPr>
      <dsp:spPr>
        <a:xfrm>
          <a:off x="3132764" y="1177574"/>
          <a:ext cx="1234008" cy="771255"/>
        </a:xfrm>
        <a:prstGeom prst="roundRect">
          <a:avLst>
            <a:gd name="adj" fmla="val 10000"/>
          </a:avLst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625" tIns="31750" rIns="47625" bIns="317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2500" kern="1200" dirty="0"/>
        </a:p>
      </dsp:txBody>
      <dsp:txXfrm>
        <a:off x="3155353" y="1200163"/>
        <a:ext cx="1188830" cy="726077"/>
      </dsp:txXfrm>
    </dsp:sp>
    <dsp:sp modelId="{0F5C3FBD-F0D7-457A-8A3D-F894E135081D}">
      <dsp:nvSpPr>
        <dsp:cNvPr id="0" name=""/>
        <dsp:cNvSpPr/>
      </dsp:nvSpPr>
      <dsp:spPr>
        <a:xfrm>
          <a:off x="2940726" y="984760"/>
          <a:ext cx="192037" cy="15425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42510"/>
              </a:lnTo>
              <a:lnTo>
                <a:pt x="192037" y="154251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4EFF92-B00F-433D-8E13-404EC2F306DD}">
      <dsp:nvSpPr>
        <dsp:cNvPr id="0" name=""/>
        <dsp:cNvSpPr/>
      </dsp:nvSpPr>
      <dsp:spPr>
        <a:xfrm>
          <a:off x="3132764" y="2141643"/>
          <a:ext cx="1536303" cy="771255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625" tIns="31750" rIns="47625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500" kern="1200" dirty="0"/>
            <a:t>13:15 Uhr</a:t>
          </a:r>
        </a:p>
      </dsp:txBody>
      <dsp:txXfrm>
        <a:off x="3155353" y="2164232"/>
        <a:ext cx="1491125" cy="726077"/>
      </dsp:txXfrm>
    </dsp:sp>
    <dsp:sp modelId="{5B8F671E-5E77-48D4-AD23-415D145D72FF}">
      <dsp:nvSpPr>
        <dsp:cNvPr id="0" name=""/>
        <dsp:cNvSpPr/>
      </dsp:nvSpPr>
      <dsp:spPr>
        <a:xfrm>
          <a:off x="2940726" y="984760"/>
          <a:ext cx="192037" cy="25065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06579"/>
              </a:lnTo>
              <a:lnTo>
                <a:pt x="192037" y="2506579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758A4B-FB01-4E33-B580-15E296A5DAF6}">
      <dsp:nvSpPr>
        <dsp:cNvPr id="0" name=""/>
        <dsp:cNvSpPr/>
      </dsp:nvSpPr>
      <dsp:spPr>
        <a:xfrm>
          <a:off x="3132764" y="3105712"/>
          <a:ext cx="1536303" cy="77125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625" tIns="31750" rIns="47625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500" kern="1200" dirty="0"/>
            <a:t>bis</a:t>
          </a:r>
        </a:p>
      </dsp:txBody>
      <dsp:txXfrm>
        <a:off x="3155353" y="3128301"/>
        <a:ext cx="1491125" cy="726077"/>
      </dsp:txXfrm>
    </dsp:sp>
    <dsp:sp modelId="{924D06F6-7185-4D77-992C-D0E42528A2B9}">
      <dsp:nvSpPr>
        <dsp:cNvPr id="0" name=""/>
        <dsp:cNvSpPr/>
      </dsp:nvSpPr>
      <dsp:spPr>
        <a:xfrm>
          <a:off x="2940726" y="984760"/>
          <a:ext cx="192037" cy="34706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470648"/>
              </a:lnTo>
              <a:lnTo>
                <a:pt x="192037" y="3470648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0401F6E-2218-4903-935B-57A86E61C90F}">
      <dsp:nvSpPr>
        <dsp:cNvPr id="0" name=""/>
        <dsp:cNvSpPr/>
      </dsp:nvSpPr>
      <dsp:spPr>
        <a:xfrm>
          <a:off x="3132764" y="4069781"/>
          <a:ext cx="1536303" cy="771255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625" tIns="31750" rIns="47625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500" kern="1200" dirty="0"/>
            <a:t>16:40 Uhr</a:t>
          </a:r>
        </a:p>
      </dsp:txBody>
      <dsp:txXfrm>
        <a:off x="3155353" y="4092370"/>
        <a:ext cx="1491125" cy="72607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F89C5A-7A86-4798-8D7C-6493155A2469}">
      <dsp:nvSpPr>
        <dsp:cNvPr id="0" name=""/>
        <dsp:cNvSpPr/>
      </dsp:nvSpPr>
      <dsp:spPr>
        <a:xfrm>
          <a:off x="1701337" y="2187"/>
          <a:ext cx="1709075" cy="874971"/>
        </a:xfrm>
        <a:prstGeom prst="roundRect">
          <a:avLst>
            <a:gd name="adj" fmla="val 10000"/>
          </a:avLst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800" kern="1200" dirty="0"/>
            <a:t>Abends</a:t>
          </a:r>
          <a:br>
            <a:rPr lang="de-CH" sz="2800" kern="1200" dirty="0"/>
          </a:br>
          <a:r>
            <a:rPr lang="de-CH" sz="2800" kern="1200" dirty="0"/>
            <a:t>von…</a:t>
          </a:r>
        </a:p>
      </dsp:txBody>
      <dsp:txXfrm>
        <a:off x="1726964" y="27814"/>
        <a:ext cx="1657821" cy="823717"/>
      </dsp:txXfrm>
    </dsp:sp>
    <dsp:sp modelId="{BE3EAFF3-E1C7-4061-8753-EBACC9EDA0AF}">
      <dsp:nvSpPr>
        <dsp:cNvPr id="0" name=""/>
        <dsp:cNvSpPr/>
      </dsp:nvSpPr>
      <dsp:spPr>
        <a:xfrm>
          <a:off x="1872244" y="877158"/>
          <a:ext cx="170907" cy="5147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4794"/>
              </a:lnTo>
              <a:lnTo>
                <a:pt x="170907" y="514794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F8FE4A9-0DE9-49DD-810F-605F5E5FF114}">
      <dsp:nvSpPr>
        <dsp:cNvPr id="0" name=""/>
        <dsp:cNvSpPr/>
      </dsp:nvSpPr>
      <dsp:spPr>
        <a:xfrm>
          <a:off x="2043152" y="1048756"/>
          <a:ext cx="1098227" cy="686392"/>
        </a:xfrm>
        <a:prstGeom prst="roundRect">
          <a:avLst>
            <a:gd name="adj" fmla="val 10000"/>
          </a:avLst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27940" rIns="41910" bIns="2794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2200" kern="1200" dirty="0"/>
        </a:p>
      </dsp:txBody>
      <dsp:txXfrm>
        <a:off x="2063256" y="1068860"/>
        <a:ext cx="1058019" cy="646184"/>
      </dsp:txXfrm>
    </dsp:sp>
    <dsp:sp modelId="{F88DB0F4-A17F-4688-95B1-5FA6C6295493}">
      <dsp:nvSpPr>
        <dsp:cNvPr id="0" name=""/>
        <dsp:cNvSpPr/>
      </dsp:nvSpPr>
      <dsp:spPr>
        <a:xfrm>
          <a:off x="1872244" y="877158"/>
          <a:ext cx="170907" cy="137278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72784"/>
              </a:lnTo>
              <a:lnTo>
                <a:pt x="170907" y="137278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25C952-3C69-4BC8-8352-D45A11665B31}">
      <dsp:nvSpPr>
        <dsp:cNvPr id="0" name=""/>
        <dsp:cNvSpPr/>
      </dsp:nvSpPr>
      <dsp:spPr>
        <a:xfrm>
          <a:off x="2043152" y="1906747"/>
          <a:ext cx="1367260" cy="686392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27940" rIns="4191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200" kern="1200" dirty="0"/>
            <a:t>18:10 Uhr</a:t>
          </a:r>
        </a:p>
      </dsp:txBody>
      <dsp:txXfrm>
        <a:off x="2063256" y="1926851"/>
        <a:ext cx="1327052" cy="646184"/>
      </dsp:txXfrm>
    </dsp:sp>
    <dsp:sp modelId="{EAAEDE6B-8CD4-4EFC-92C6-DE3061D75F24}">
      <dsp:nvSpPr>
        <dsp:cNvPr id="0" name=""/>
        <dsp:cNvSpPr/>
      </dsp:nvSpPr>
      <dsp:spPr>
        <a:xfrm>
          <a:off x="1872244" y="877158"/>
          <a:ext cx="170907" cy="22307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30774"/>
              </a:lnTo>
              <a:lnTo>
                <a:pt x="170907" y="2230774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3C82D46-1174-4CED-825B-3A011305C6ED}">
      <dsp:nvSpPr>
        <dsp:cNvPr id="0" name=""/>
        <dsp:cNvSpPr/>
      </dsp:nvSpPr>
      <dsp:spPr>
        <a:xfrm>
          <a:off x="2043152" y="2764737"/>
          <a:ext cx="1367260" cy="6863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27940" rIns="4191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200" kern="1200" dirty="0"/>
            <a:t>bis</a:t>
          </a:r>
        </a:p>
      </dsp:txBody>
      <dsp:txXfrm>
        <a:off x="2063256" y="2784841"/>
        <a:ext cx="1327052" cy="646184"/>
      </dsp:txXfrm>
    </dsp:sp>
    <dsp:sp modelId="{2A0EE326-4461-49A0-8B28-B96F6D74D1B5}">
      <dsp:nvSpPr>
        <dsp:cNvPr id="0" name=""/>
        <dsp:cNvSpPr/>
      </dsp:nvSpPr>
      <dsp:spPr>
        <a:xfrm>
          <a:off x="1872244" y="877158"/>
          <a:ext cx="170907" cy="30887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88764"/>
              </a:lnTo>
              <a:lnTo>
                <a:pt x="170907" y="308876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5815F01-5A78-42B0-8152-CF4C68EABA67}">
      <dsp:nvSpPr>
        <dsp:cNvPr id="0" name=""/>
        <dsp:cNvSpPr/>
      </dsp:nvSpPr>
      <dsp:spPr>
        <a:xfrm>
          <a:off x="2043152" y="3622727"/>
          <a:ext cx="1367260" cy="686392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27940" rIns="4191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200" kern="1200" dirty="0"/>
            <a:t>21:50 Uhr</a:t>
          </a:r>
        </a:p>
      </dsp:txBody>
      <dsp:txXfrm>
        <a:off x="2063256" y="3642831"/>
        <a:ext cx="1327052" cy="64618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4ACB94-5BAC-4F55-A7FE-E6180EA7F687}" type="datetimeFigureOut">
              <a:rPr lang="en-GB" smtClean="0"/>
              <a:t>04/08/2020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3FD587-A6FE-45BE-A776-8C3214E1B1D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94166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032BD7CE-1167-4F36-9CBA-4A98DD6F152D}"/>
              </a:ext>
            </a:extLst>
          </p:cNvPr>
          <p:cNvSpPr/>
          <p:nvPr userDrawn="1"/>
        </p:nvSpPr>
        <p:spPr>
          <a:xfrm>
            <a:off x="0" y="0"/>
            <a:ext cx="12192000" cy="68803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C2847F-4CDD-4598-B1FC-2175A061C1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6AD09E5-77A4-48BE-A2FA-23FA152DC1B4}" type="datetime4">
              <a:rPr lang="de-CH" smtClean="0"/>
              <a:t>4. August 2020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595AC1-AB8B-499D-8568-C3EA39C1F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A823CC-8172-4A40-8730-A3E74B5CAB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C07364C-E8F1-4D33-B9F6-B7047B9F0A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6236" y="5467349"/>
            <a:ext cx="1027113" cy="1027113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AF12B1DC-F815-447B-B561-E875045FB3FF}"/>
              </a:ext>
            </a:extLst>
          </p:cNvPr>
          <p:cNvSpPr/>
          <p:nvPr userDrawn="1"/>
        </p:nvSpPr>
        <p:spPr>
          <a:xfrm>
            <a:off x="765175" y="6355834"/>
            <a:ext cx="2563511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/>
            <a:r>
              <a:rPr lang="de-DE" sz="1050" dirty="0">
                <a:solidFill>
                  <a:srgbClr val="5656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t Förderung des Migros-Kulturprozent </a:t>
            </a:r>
            <a:endParaRPr lang="de-DE" sz="2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C0631C4-3567-4EAF-9E64-54F84B217BA7}"/>
              </a:ext>
            </a:extLst>
          </p:cNvPr>
          <p:cNvSpPr>
            <a:spLocks/>
          </p:cNvSpPr>
          <p:nvPr userDrawn="1"/>
        </p:nvSpPr>
        <p:spPr>
          <a:xfrm>
            <a:off x="9420265" y="6355835"/>
            <a:ext cx="856004" cy="16158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de-DE" sz="10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ubschule.ch</a:t>
            </a:r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2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F2C7E70-B496-44F2-BB79-F2E899CEA154}"/>
              </a:ext>
            </a:extLst>
          </p:cNvPr>
          <p:cNvSpPr/>
          <p:nvPr userDrawn="1"/>
        </p:nvSpPr>
        <p:spPr>
          <a:xfrm>
            <a:off x="712788" y="797813"/>
            <a:ext cx="10850561" cy="230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4EE0B7A-22F1-4AF0-8285-80CD8206FF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32680" y="2388375"/>
            <a:ext cx="10210777" cy="323165"/>
          </a:xfrm>
        </p:spPr>
        <p:txBody>
          <a:bodyPr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D972485-8FF8-4561-A4DE-1FAAB5D1B8A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2788" y="3101812"/>
            <a:ext cx="10850561" cy="1975263"/>
          </a:xfrm>
          <a:solidFill>
            <a:schemeClr val="bg1"/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E31C5615-3647-4C0D-B997-78A377FD2B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2680" y="1792669"/>
            <a:ext cx="10210777" cy="484803"/>
          </a:xfrm>
        </p:spPr>
        <p:txBody>
          <a:bodyPr anchor="b"/>
          <a:lstStyle>
            <a:lvl1pPr algn="ctr">
              <a:defRPr b="1" cap="all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11" name="Grafik 10" descr="Ein Bild, das Text enthält.&#10;&#10;Automatisch generierte Beschreibung">
            <a:extLst>
              <a:ext uri="{FF2B5EF4-FFF2-40B4-BE49-F238E27FC236}">
                <a16:creationId xmlns:a16="http://schemas.microsoft.com/office/drawing/2014/main" id="{B4751873-5FBF-4DDC-A8B6-AC8F64DF5C4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1330" y="401814"/>
            <a:ext cx="1253476" cy="1194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5730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D7B3504-497E-4C69-98E3-D97C0799AC6E}" type="datetime4">
              <a:rPr lang="de-CH" smtClean="0"/>
              <a:t>4. August 2020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55D0BD-5A8E-487B-B9F5-9A1BD00C627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2000" cy="6865371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E177658-C751-476E-BC8F-F323F6B4D0C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02113" y="371251"/>
            <a:ext cx="720000" cy="720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  <p:sp>
        <p:nvSpPr>
          <p:cNvPr id="9" name="Textplatzhalter 12">
            <a:extLst>
              <a:ext uri="{FF2B5EF4-FFF2-40B4-BE49-F238E27FC236}">
                <a16:creationId xmlns:a16="http://schemas.microsoft.com/office/drawing/2014/main" id="{EEE25028-DB22-457D-BCC7-43776CA5FFD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3504" y="5531685"/>
            <a:ext cx="3321794" cy="640515"/>
          </a:xfrm>
          <a:solidFill>
            <a:schemeClr val="accent2"/>
          </a:solidFill>
        </p:spPr>
        <p:txBody>
          <a:bodyPr lIns="180000" tIns="180000" rIns="180000" bIns="180000" anchor="b">
            <a:spAutoFit/>
          </a:bodyPr>
          <a:lstStyle>
            <a:lvl1pPr algn="l">
              <a:lnSpc>
                <a:spcPct val="100000"/>
              </a:lnSpc>
              <a:defRPr sz="1800" b="1" cap="none" baseline="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98767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er langu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Boden, Gebäude, stehend enthält.&#10;&#10;Automatisch generierte Beschreibung">
            <a:extLst>
              <a:ext uri="{FF2B5EF4-FFF2-40B4-BE49-F238E27FC236}">
                <a16:creationId xmlns:a16="http://schemas.microsoft.com/office/drawing/2014/main" id="{509B3DB1-C833-4363-82CB-6D219AAA8E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21" r="20576" b="15955"/>
          <a:stretch/>
        </p:blipFill>
        <p:spPr>
          <a:xfrm>
            <a:off x="1805" y="0"/>
            <a:ext cx="12188389" cy="6858000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531AD7-1A15-475B-B516-3CF1F10F1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65011FC-65F2-4118-92C4-40A6EE647601}" type="datetime4">
              <a:rPr lang="de-CH" smtClean="0"/>
              <a:t>4. August 2020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1B93F91-DC85-4D24-BE2C-0D2DBF5C9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2CE9B1F-06F0-4E9D-AD94-05517B8A0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5E729FF2-218F-4278-ABD3-F0A8B4945F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3504" y="818984"/>
            <a:ext cx="3321794" cy="5677066"/>
          </a:xfrm>
          <a:solidFill>
            <a:srgbClr val="D2589C"/>
          </a:solidFill>
        </p:spPr>
        <p:txBody>
          <a:bodyPr lIns="108000" rIns="108000" bIns="3600000" anchor="b"/>
          <a:lstStyle>
            <a:lvl1pPr algn="ctr">
              <a:lnSpc>
                <a:spcPct val="100000"/>
              </a:lnSpc>
              <a:defRPr sz="2800" b="1" cap="all" baseline="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3CE5998-C011-49AA-A4B7-9A22AB47AC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077" y="2995449"/>
            <a:ext cx="3072650" cy="1252822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7C0C920-2C6F-41D7-AFA9-ECEE7F0A9D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536236" y="5467349"/>
            <a:ext cx="1027113" cy="1027113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DA529-9353-4E6F-8980-52C52CFF96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5054" y="368300"/>
            <a:ext cx="1684407" cy="1407096"/>
          </a:xfr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21040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Boden, drinnen, Decke, Person enthält.&#10;&#10;Automatisch generierte Beschreibung">
            <a:extLst>
              <a:ext uri="{FF2B5EF4-FFF2-40B4-BE49-F238E27FC236}">
                <a16:creationId xmlns:a16="http://schemas.microsoft.com/office/drawing/2014/main" id="{D183536B-7AF1-42B7-98DF-3DB5A47136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8" t="5665" r="13118" b="7901"/>
          <a:stretch/>
        </p:blipFill>
        <p:spPr>
          <a:xfrm>
            <a:off x="1805" y="0"/>
            <a:ext cx="12188389" cy="6858000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531AD7-1A15-475B-B516-3CF1F10F1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76B8165-3FA0-4666-831C-B2E4E8F74248}" type="datetime4">
              <a:rPr lang="de-CH" smtClean="0"/>
              <a:t>4. August 2020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1B93F91-DC85-4D24-BE2C-0D2DBF5C9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2CE9B1F-06F0-4E9D-AD94-05517B8A0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5E729FF2-218F-4278-ABD3-F0A8B4945F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3504" y="818984"/>
            <a:ext cx="3321794" cy="5677066"/>
          </a:xfrm>
          <a:solidFill>
            <a:srgbClr val="01A385"/>
          </a:solidFill>
        </p:spPr>
        <p:txBody>
          <a:bodyPr lIns="108000" rIns="108000" bIns="3600000" anchor="b"/>
          <a:lstStyle>
            <a:lvl1pPr algn="ctr">
              <a:lnSpc>
                <a:spcPct val="100000"/>
              </a:lnSpc>
              <a:defRPr sz="2800" b="1" cap="all" baseline="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3CE5998-C011-49AA-A4B7-9A22AB47AC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077" y="2995449"/>
            <a:ext cx="3072650" cy="1252822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7C0C920-2C6F-41D7-AFA9-ECEE7F0A9D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536236" y="5467349"/>
            <a:ext cx="1027113" cy="1027113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DA529-9353-4E6F-8980-52C52CFF96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5054" y="368300"/>
            <a:ext cx="1684407" cy="1407096"/>
          </a:xfr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35961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er crea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Schnee, stehend, draußen, Boden enthält.&#10;&#10;Automatisch generierte Beschreibung">
            <a:extLst>
              <a:ext uri="{FF2B5EF4-FFF2-40B4-BE49-F238E27FC236}">
                <a16:creationId xmlns:a16="http://schemas.microsoft.com/office/drawing/2014/main" id="{0A858858-852B-4D30-B995-35E08F057F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92" r="16456" b="11864"/>
          <a:stretch/>
        </p:blipFill>
        <p:spPr>
          <a:xfrm>
            <a:off x="1805" y="0"/>
            <a:ext cx="12188389" cy="6858000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531AD7-1A15-475B-B516-3CF1F10F1C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61114" y="6518631"/>
            <a:ext cx="1132033" cy="34674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C26644AE-BED4-4B65-AEAE-B0112DE63CBD}" type="datetime4">
              <a:rPr lang="de-CH" smtClean="0"/>
              <a:t>4. August 2020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1B93F91-DC85-4D24-BE2C-0D2DBF5C9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2CE9B1F-06F0-4E9D-AD94-05517B8A0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5E729FF2-218F-4278-ABD3-F0A8B4945F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2788" y="818984"/>
            <a:ext cx="3321794" cy="5677066"/>
          </a:xfrm>
          <a:solidFill>
            <a:srgbClr val="ED682F"/>
          </a:solidFill>
        </p:spPr>
        <p:txBody>
          <a:bodyPr lIns="108000" rIns="108000" bIns="3600000" anchor="b"/>
          <a:lstStyle>
            <a:lvl1pPr algn="ctr">
              <a:lnSpc>
                <a:spcPct val="100000"/>
              </a:lnSpc>
              <a:defRPr sz="2800" b="1" cap="all" baseline="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3CE5998-C011-49AA-A4B7-9A22AB47AC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7361" y="2995449"/>
            <a:ext cx="3072650" cy="1252822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7C0C920-2C6F-41D7-AFA9-ECEE7F0A9D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536236" y="5467349"/>
            <a:ext cx="1027113" cy="1027113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DA529-9353-4E6F-8980-52C52CFF96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4338" y="368300"/>
            <a:ext cx="1684407" cy="1407096"/>
          </a:xfr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64326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er busin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Gebäude, Boden, stehend, drinnen enthält.&#10;&#10;Automatisch generierte Beschreibung">
            <a:extLst>
              <a:ext uri="{FF2B5EF4-FFF2-40B4-BE49-F238E27FC236}">
                <a16:creationId xmlns:a16="http://schemas.microsoft.com/office/drawing/2014/main" id="{D60931A2-CD41-4CF5-A5D9-FE2A587647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" t="4383" r="14454" b="10083"/>
          <a:stretch/>
        </p:blipFill>
        <p:spPr>
          <a:xfrm>
            <a:off x="1805" y="0"/>
            <a:ext cx="12188389" cy="6858000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531AD7-1A15-475B-B516-3CF1F10F1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A828A7E-7E57-4254-80F6-609ED66C73B9}" type="datetime4">
              <a:rPr lang="de-CH" smtClean="0"/>
              <a:t>4. August 2020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1B93F91-DC85-4D24-BE2C-0D2DBF5C9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2CE9B1F-06F0-4E9D-AD94-05517B8A0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5E729FF2-218F-4278-ABD3-F0A8B4945F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3504" y="818984"/>
            <a:ext cx="3321794" cy="5677066"/>
          </a:xfrm>
          <a:solidFill>
            <a:srgbClr val="289CCC"/>
          </a:solidFill>
        </p:spPr>
        <p:txBody>
          <a:bodyPr lIns="108000" rIns="108000" bIns="3600000" anchor="b"/>
          <a:lstStyle>
            <a:lvl1pPr algn="ctr">
              <a:lnSpc>
                <a:spcPct val="100000"/>
              </a:lnSpc>
              <a:defRPr sz="2800" b="1" cap="all" baseline="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3CE5998-C011-49AA-A4B7-9A22AB47AC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077" y="2995449"/>
            <a:ext cx="3072650" cy="1252822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7C0C920-2C6F-41D7-AFA9-ECEE7F0A9D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536236" y="5467349"/>
            <a:ext cx="1027113" cy="1027113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06476284-A482-4F97-9CD1-D60E05430A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5054" y="368300"/>
            <a:ext cx="1684407" cy="1407096"/>
          </a:xfr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04207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er form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Boden, drinnen, stehend, Decke enthält.&#10;&#10;Automatisch generierte Beschreibung">
            <a:extLst>
              <a:ext uri="{FF2B5EF4-FFF2-40B4-BE49-F238E27FC236}">
                <a16:creationId xmlns:a16="http://schemas.microsoft.com/office/drawing/2014/main" id="{BB8F3825-195D-4F99-A67D-B5E0401552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21" t="10811" r="17801" b="10811"/>
          <a:stretch/>
        </p:blipFill>
        <p:spPr>
          <a:xfrm>
            <a:off x="0" y="1016"/>
            <a:ext cx="12192000" cy="6855968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531AD7-1A15-475B-B516-3CF1F10F1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6CC50E1-9DC1-4DD5-93E2-8C6423BA036D}" type="datetime4">
              <a:rPr lang="de-CH" smtClean="0"/>
              <a:t>4. August 2020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1B93F91-DC85-4D24-BE2C-0D2DBF5C9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2CE9B1F-06F0-4E9D-AD94-05517B8A0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5E729FF2-218F-4278-ABD3-F0A8B4945F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3504" y="818984"/>
            <a:ext cx="3321794" cy="5677066"/>
          </a:xfrm>
          <a:solidFill>
            <a:srgbClr val="7E5396"/>
          </a:solidFill>
        </p:spPr>
        <p:txBody>
          <a:bodyPr lIns="108000" rIns="108000" bIns="3600000" anchor="b"/>
          <a:lstStyle>
            <a:lvl1pPr algn="ctr">
              <a:lnSpc>
                <a:spcPct val="100000"/>
              </a:lnSpc>
              <a:defRPr sz="2800" b="1" cap="all" baseline="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3CE5998-C011-49AA-A4B7-9A22AB47AC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077" y="2995449"/>
            <a:ext cx="3072650" cy="1252822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7C0C920-2C6F-41D7-AFA9-ECEE7F0A9D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536236" y="5467349"/>
            <a:ext cx="1027113" cy="1027113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DA529-9353-4E6F-8980-52C52CFF96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5054" y="368300"/>
            <a:ext cx="1684407" cy="1407096"/>
          </a:xfr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28048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er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drinnen, Boden, stehend, Decke enthält.&#10;&#10;Automatisch generierte Beschreibung">
            <a:extLst>
              <a:ext uri="{FF2B5EF4-FFF2-40B4-BE49-F238E27FC236}">
                <a16:creationId xmlns:a16="http://schemas.microsoft.com/office/drawing/2014/main" id="{9768C4D0-6155-4FE6-839E-94410B40D5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01" t="16201" r="24501" b="16201"/>
          <a:stretch/>
        </p:blipFill>
        <p:spPr>
          <a:xfrm>
            <a:off x="1805" y="0"/>
            <a:ext cx="12188389" cy="6858000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531AD7-1A15-475B-B516-3CF1F10F1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F0F4992-E2FE-42EF-BB25-243CCE4773A1}" type="datetime4">
              <a:rPr lang="de-CH" smtClean="0"/>
              <a:t>4. August 2020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1B93F91-DC85-4D24-BE2C-0D2DBF5C9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2CE9B1F-06F0-4E9D-AD94-05517B8A0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5E729FF2-218F-4278-ABD3-F0A8B4945F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3504" y="818984"/>
            <a:ext cx="3321794" cy="5677066"/>
          </a:xfrm>
          <a:solidFill>
            <a:srgbClr val="950D33"/>
          </a:solidFill>
        </p:spPr>
        <p:txBody>
          <a:bodyPr lIns="108000" rIns="108000" bIns="3600000" anchor="b"/>
          <a:lstStyle>
            <a:lvl1pPr algn="ctr">
              <a:lnSpc>
                <a:spcPct val="100000"/>
              </a:lnSpc>
              <a:defRPr sz="2800" b="1" cap="all" baseline="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3CE5998-C011-49AA-A4B7-9A22AB47AC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077" y="2995449"/>
            <a:ext cx="3072650" cy="1252822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7C0C920-2C6F-41D7-AFA9-ECEE7F0A9D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536236" y="5467349"/>
            <a:ext cx="1027113" cy="1027113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DA529-9353-4E6F-8980-52C52CFF96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5054" y="368300"/>
            <a:ext cx="1684407" cy="1407096"/>
          </a:xfr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04579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B7D91-0AF7-4E04-89F5-6282F4FF337A}" type="datetime4">
              <a:rPr lang="de-CH" smtClean="0"/>
              <a:t>4. August 2020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A641D81B-BB1C-4E05-A461-7BD3D3EA4E9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13504" y="1590338"/>
            <a:ext cx="10125175" cy="4581547"/>
          </a:xfrm>
        </p:spPr>
        <p:txBody>
          <a:bodyPr/>
          <a:lstStyle>
            <a:lvl1pPr marL="288000" indent="-288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defRPr sz="1800" b="1"/>
            </a:lvl1pPr>
            <a:lvl2pPr marL="576000" indent="-288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lphaLcPeriod"/>
              <a:defRPr sz="1800" b="0"/>
            </a:lvl2pPr>
            <a:lvl3pPr marL="864000" indent="-288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+mj-lt"/>
              <a:buAutoNum type="romanLcPeriod"/>
              <a:defRPr sz="1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endParaRPr lang="en-US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75501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531AD7-1A15-475B-B516-3CF1F10F1C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61114" y="6518631"/>
            <a:ext cx="1132033" cy="34674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8FBE518F-1619-4C60-92A5-75C396DADD0C}" type="datetime4">
              <a:rPr lang="de-CH" smtClean="0"/>
              <a:t>4. August 2020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1B93F91-DC85-4D24-BE2C-0D2DBF5C9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2CE9B1F-06F0-4E9D-AD94-05517B8A0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5A6508B-02C1-4A4E-9366-42B4E0D1E0E1}"/>
              </a:ext>
            </a:extLst>
          </p:cNvPr>
          <p:cNvSpPr/>
          <p:nvPr userDrawn="1"/>
        </p:nvSpPr>
        <p:spPr>
          <a:xfrm>
            <a:off x="0" y="0"/>
            <a:ext cx="12192000" cy="688030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F331003-59CD-4DE5-A592-8E374289318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8022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5E729FF2-218F-4278-ABD3-F0A8B4945F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3504" y="818984"/>
            <a:ext cx="3321794" cy="5677066"/>
          </a:xfrm>
          <a:solidFill>
            <a:schemeClr val="accent2"/>
          </a:solidFill>
        </p:spPr>
        <p:txBody>
          <a:bodyPr lIns="108000" rIns="108000" bIns="3600000" anchor="b"/>
          <a:lstStyle>
            <a:lvl1pPr algn="ctr">
              <a:lnSpc>
                <a:spcPct val="100000"/>
              </a:lnSpc>
              <a:defRPr sz="2800" b="1" cap="all" baseline="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3CE5998-C011-49AA-A4B7-9A22AB47AC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7361" y="2995449"/>
            <a:ext cx="3072650" cy="1252822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7C0C920-2C6F-41D7-AFA9-ECEE7F0A9D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536236" y="5467349"/>
            <a:ext cx="1027113" cy="10271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DB12EE94-668B-4855-BE64-61D7C8A029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47663" y="368301"/>
            <a:ext cx="1253476" cy="1194563"/>
          </a:xfr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61029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2332FE-E513-45C0-9C0F-189A651EF5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5B29CB-3ACB-42E8-A159-730C63E4A095}" type="datetime4">
              <a:rPr lang="de-CH" smtClean="0"/>
              <a:t>4. August 2020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97659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6898B0-AE4A-494F-8B37-9192A18D367D}" type="datetime4">
              <a:rPr lang="de-CH" smtClean="0"/>
              <a:t>4. August 2020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A641D81B-BB1C-4E05-A461-7BD3D3EA4E9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13504" y="1590338"/>
            <a:ext cx="10125175" cy="458154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9278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B28902-76E9-4C1F-805C-956D756FFB73}" type="datetime4">
              <a:rPr lang="de-CH" smtClean="0"/>
              <a:t>4. August 2020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A641D81B-BB1C-4E05-A461-7BD3D3EA4E9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13504" y="1590338"/>
            <a:ext cx="4882588" cy="458154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ADE07766-CBCE-4B8D-AF60-1285287DA42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956091" y="1590338"/>
            <a:ext cx="4882588" cy="458154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89474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C0922D-4583-4474-91F9-FEB56D429545}" type="datetime4">
              <a:rPr lang="de-CH" smtClean="0"/>
              <a:t>4. August 2020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38D8E3BA-8C7B-444B-AD37-3DB1D6E4649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08561" y="1590338"/>
            <a:ext cx="6643109" cy="458154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E0EEC92-BF6B-493B-B27A-2F80BCBC843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13504" y="1590338"/>
            <a:ext cx="3135058" cy="458154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66656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ABC3D4-A054-43C7-9971-51A265CA194D}" type="datetime4">
              <a:rPr lang="de-CH" smtClean="0"/>
              <a:t>4. August 2020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E0EEC92-BF6B-493B-B27A-2F80BCBC843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716612" y="1590338"/>
            <a:ext cx="3135058" cy="458154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38D8E3BA-8C7B-444B-AD37-3DB1D6E4649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13504" y="1590338"/>
            <a:ext cx="6643109" cy="458154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74183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B53C2C-0E05-4F0E-8AD9-4BE5E924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085C78-D75F-4827-A198-829182CB9F3D}" type="datetime4">
              <a:rPr lang="de-CH" smtClean="0"/>
              <a:t>4. August 2020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8F493C-CC2A-461E-B24A-4A3BF068D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D4CC65-06A5-49DA-A55B-DA46D60B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D936438-3969-436A-82E4-26010BB10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55D0BD-5A8E-487B-B9F5-9A1BD00C627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589088"/>
            <a:ext cx="12192000" cy="458311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55269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A2333A8-4346-4BC3-BE40-49339B0359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504" y="450232"/>
            <a:ext cx="10138167" cy="63629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4A800A0-EB66-4747-9E58-274539A0BB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3504" y="1590338"/>
            <a:ext cx="10125175" cy="45815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en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DB74DD6-C5D3-4A3A-B659-26AF7932B3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504" y="6518631"/>
            <a:ext cx="1132033" cy="34674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856B379B-A33B-4A6B-8F51-3C57419C854D}" type="datetime4">
              <a:rPr lang="de-CH" smtClean="0"/>
              <a:t>4. August 2020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216E4AD-5597-4EA2-A523-4BEFA2C5A3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45537" y="6518631"/>
            <a:ext cx="9006134" cy="34674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Autor/I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3C6A50A-F83C-48C6-89E8-79FC5A8E62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1638" y="6509395"/>
            <a:ext cx="720000" cy="35597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defRPr sz="800" b="1">
                <a:solidFill>
                  <a:schemeClr val="tx1"/>
                </a:solidFill>
              </a:defRPr>
            </a:lvl1pPr>
          </a:lstStyle>
          <a:p>
            <a:fld id="{535B9209-B7EF-43C7-B513-9183625F41C2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55F3DEB-114D-42C1-A4EA-1EE70450C97D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2113" y="371251"/>
            <a:ext cx="720000" cy="720000"/>
          </a:xfrm>
          <a:prstGeom prst="rect">
            <a:avLst/>
          </a:prstGeom>
        </p:spPr>
      </p:pic>
      <p:cxnSp>
        <p:nvCxnSpPr>
          <p:cNvPr id="8" name="Gerade Verbindung 16">
            <a:extLst>
              <a:ext uri="{FF2B5EF4-FFF2-40B4-BE49-F238E27FC236}">
                <a16:creationId xmlns:a16="http://schemas.microsoft.com/office/drawing/2014/main" id="{75BCA584-0D2D-40BB-95CE-D607F3C95A93}"/>
              </a:ext>
            </a:extLst>
          </p:cNvPr>
          <p:cNvCxnSpPr>
            <a:cxnSpLocks/>
          </p:cNvCxnSpPr>
          <p:nvPr userDrawn="1"/>
        </p:nvCxnSpPr>
        <p:spPr>
          <a:xfrm>
            <a:off x="713504" y="6518631"/>
            <a:ext cx="10125175" cy="0"/>
          </a:xfrm>
          <a:prstGeom prst="line">
            <a:avLst/>
          </a:prstGeom>
          <a:ln>
            <a:solidFill>
              <a:schemeClr val="tx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17">
            <a:extLst>
              <a:ext uri="{FF2B5EF4-FFF2-40B4-BE49-F238E27FC236}">
                <a16:creationId xmlns:a16="http://schemas.microsoft.com/office/drawing/2014/main" id="{56DEDD93-E190-4C4F-B8CE-6A197B9E4206}"/>
              </a:ext>
            </a:extLst>
          </p:cNvPr>
          <p:cNvCxnSpPr>
            <a:cxnSpLocks/>
          </p:cNvCxnSpPr>
          <p:nvPr userDrawn="1"/>
        </p:nvCxnSpPr>
        <p:spPr>
          <a:xfrm>
            <a:off x="11102113" y="6518631"/>
            <a:ext cx="720000" cy="0"/>
          </a:xfrm>
          <a:prstGeom prst="line">
            <a:avLst/>
          </a:prstGeom>
          <a:ln>
            <a:solidFill>
              <a:schemeClr val="tx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4981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63" r:id="rId2"/>
    <p:sldLayoutId id="2147483651" r:id="rId3"/>
    <p:sldLayoutId id="2147483657" r:id="rId4"/>
    <p:sldLayoutId id="2147483649" r:id="rId5"/>
    <p:sldLayoutId id="2147483659" r:id="rId6"/>
    <p:sldLayoutId id="2147483658" r:id="rId7"/>
    <p:sldLayoutId id="2147483660" r:id="rId8"/>
    <p:sldLayoutId id="2147483661" r:id="rId9"/>
    <p:sldLayoutId id="2147483662" r:id="rId10"/>
    <p:sldLayoutId id="2147483656" r:id="rId11"/>
    <p:sldLayoutId id="2147483652" r:id="rId12"/>
    <p:sldLayoutId id="2147483655" r:id="rId13"/>
    <p:sldLayoutId id="2147483664" r:id="rId14"/>
    <p:sldLayoutId id="2147483653" r:id="rId15"/>
    <p:sldLayoutId id="2147483654" r:id="rId16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288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76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152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1440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1728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1944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49" userDrawn="1">
          <p15:clr>
            <a:srgbClr val="F26B43"/>
          </p15:clr>
        </p15:guide>
        <p15:guide id="2" pos="6828" userDrawn="1">
          <p15:clr>
            <a:srgbClr val="F26B43"/>
          </p15:clr>
        </p15:guide>
        <p15:guide id="3" orient="horz" pos="284" userDrawn="1">
          <p15:clr>
            <a:srgbClr val="F26B43"/>
          </p15:clr>
        </p15:guide>
        <p15:guide id="4" orient="horz" pos="686" userDrawn="1">
          <p15:clr>
            <a:srgbClr val="F26B43"/>
          </p15:clr>
        </p15:guide>
        <p15:guide id="5" orient="horz" pos="1001" userDrawn="1">
          <p15:clr>
            <a:srgbClr val="F26B43"/>
          </p15:clr>
        </p15:guide>
        <p15:guide id="6" orient="horz" pos="38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9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19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2C3EDAA-95D0-43CF-8411-5DD6057B17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 sz="3600" dirty="0"/>
              <a:t>Einstieg in den Computeralltag</a:t>
            </a:r>
          </a:p>
        </p:txBody>
      </p:sp>
      <p:pic>
        <p:nvPicPr>
          <p:cNvPr id="15" name="Bildplatzhalter 14" descr="Ein Bild, das Person, draußen, sitzend, Gebäude enthält.&#10;&#10;Automatisch generierte Beschreibung">
            <a:extLst>
              <a:ext uri="{FF2B5EF4-FFF2-40B4-BE49-F238E27FC236}">
                <a16:creationId xmlns:a16="http://schemas.microsoft.com/office/drawing/2014/main" id="{32E941CE-7090-4D93-B4DD-7BDDBCF8BC1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946" b="45138"/>
          <a:stretch/>
        </p:blipFill>
        <p:spPr>
          <a:xfrm>
            <a:off x="712788" y="3101812"/>
            <a:ext cx="10850561" cy="1975263"/>
          </a:xfrm>
        </p:spPr>
      </p:pic>
      <p:sp>
        <p:nvSpPr>
          <p:cNvPr id="12" name="Titel 11">
            <a:extLst>
              <a:ext uri="{FF2B5EF4-FFF2-40B4-BE49-F238E27FC236}">
                <a16:creationId xmlns:a16="http://schemas.microsoft.com/office/drawing/2014/main" id="{8939B03F-D1C0-4CBB-92DE-B84B6DAA54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4800" dirty="0" err="1"/>
              <a:t>herzlich</a:t>
            </a:r>
            <a:r>
              <a:rPr lang="en-GB" sz="4800" dirty="0"/>
              <a:t> </a:t>
            </a:r>
            <a:r>
              <a:rPr lang="en-GB" sz="4800" dirty="0" err="1"/>
              <a:t>willkommen</a:t>
            </a:r>
            <a:endParaRPr lang="de-CH" sz="4800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CD4962DC-2B30-4C74-B04C-A0295BF11E47}"/>
              </a:ext>
            </a:extLst>
          </p:cNvPr>
          <p:cNvSpPr txBox="1"/>
          <p:nvPr/>
        </p:nvSpPr>
        <p:spPr>
          <a:xfrm>
            <a:off x="4607932" y="5467347"/>
            <a:ext cx="297613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ldo Lehner, Sursee</a:t>
            </a:r>
          </a:p>
        </p:txBody>
      </p:sp>
    </p:spTree>
    <p:extLst>
      <p:ext uri="{BB962C8B-B14F-4D97-AF65-F5344CB8AC3E}">
        <p14:creationId xmlns:p14="http://schemas.microsoft.com/office/powerpoint/2010/main" val="24213449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714F908-9433-430E-B573-D36B6156AF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FC412F-4A53-451B-8EEB-0563A447D539}" type="datetime4">
              <a:rPr lang="de-CH" smtClean="0"/>
              <a:t>4. August 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7BA1FEE-5EB3-4F34-AB62-742A8535E0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44AE534-E953-44C6-866C-A3EC525EF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Lernziel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AE0D79E-FCEE-4E6F-901A-AD953AEAF8D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CH" sz="2400" dirty="0"/>
              <a:t>Sie gewinnen Sicherheit und Selbständigkeit im Umgang mit dem PC und können Maus und Tastatur gezielt nutz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CH" sz="2400" dirty="0"/>
              <a:t>Sie kennen verschiedene Anwendungsgebiete und sammeln erste Erfahrung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CH" sz="2400" dirty="0"/>
              <a:t>Sie speichern Ihre Dokumente und wissen, wo Sie diese wiederfind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CH" sz="2400" dirty="0"/>
              <a:t>Sie finden im Internet rasch die gewünschten Informationen</a:t>
            </a:r>
          </a:p>
        </p:txBody>
      </p:sp>
      <p:pic>
        <p:nvPicPr>
          <p:cNvPr id="11" name="Picture 2" descr="C:\Users\amrec0\AppData\Local\Microsoft\Windows\Temporary Internet Files\Content.IE5\TB4QCZ4T\MP900433053[1].jpg">
            <a:extLst>
              <a:ext uri="{FF2B5EF4-FFF2-40B4-BE49-F238E27FC236}">
                <a16:creationId xmlns:a16="http://schemas.microsoft.com/office/drawing/2014/main" id="{A92FB723-AD37-49D3-B9D3-8CC97F955C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309" y="1618524"/>
            <a:ext cx="3030129" cy="4208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9EB02E0E-C0F6-4324-87AA-00BE1ABC95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4417" y="3534660"/>
            <a:ext cx="379200" cy="376237"/>
          </a:xfrm>
          <a:prstGeom prst="roundRect">
            <a:avLst>
              <a:gd name="adj" fmla="val 6617"/>
            </a:avLst>
          </a:prstGeom>
        </p:spPr>
      </p:pic>
    </p:spTree>
    <p:extLst>
      <p:ext uri="{BB962C8B-B14F-4D97-AF65-F5344CB8AC3E}">
        <p14:creationId xmlns:p14="http://schemas.microsoft.com/office/powerpoint/2010/main" val="20530454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76DED42-F945-4B6E-A7F7-D84892147D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2FB6F1-BDBF-4A53-BA55-06A0FA3D153B}" type="datetime4">
              <a:rPr lang="de-CH" smtClean="0"/>
              <a:t>4. August 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F1077C4-2C2A-4CC2-86EF-FDDC7F1205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3</a:t>
            </a:fld>
            <a:endParaRPr lang="en-GB" dirty="0"/>
          </a:p>
        </p:txBody>
      </p:sp>
      <p:pic>
        <p:nvPicPr>
          <p:cNvPr id="10" name="Bildplatzhalter 9" descr="Ein Bild, das Person, draußen, sitzend, Gebäude enthält.&#10;&#10;Automatisch generierte Beschreibung">
            <a:extLst>
              <a:ext uri="{FF2B5EF4-FFF2-40B4-BE49-F238E27FC236}">
                <a16:creationId xmlns:a16="http://schemas.microsoft.com/office/drawing/2014/main" id="{FFDD4782-7FDC-4ABC-A1EF-63A05043AF9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73" b="11373"/>
          <a:stretch>
            <a:fillRect/>
          </a:stretch>
        </p:blipFill>
        <p:spPr/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8472C49-5673-489F-B897-73A1C8EF070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3504" y="625642"/>
            <a:ext cx="3321794" cy="6232358"/>
          </a:xfrm>
        </p:spPr>
        <p:txBody>
          <a:bodyPr anchor="ctr" anchorCtr="0"/>
          <a:lstStyle/>
          <a:p>
            <a:r>
              <a:rPr lang="de-CH" dirty="0"/>
              <a:t>Inhalte: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374227D-BE44-4257-A45D-4A82A96C0A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076" y="2250662"/>
            <a:ext cx="3072650" cy="4607338"/>
          </a:xfrm>
        </p:spPr>
        <p:txBody>
          <a:bodyPr/>
          <a:lstStyle/>
          <a:p>
            <a:pPr marL="285750" indent="-285750" algn="l">
              <a:spcBef>
                <a:spcPct val="30000"/>
              </a:spcBef>
              <a:buFont typeface="Wingdings" panose="05000000000000000000" pitchFamily="2" charset="2"/>
              <a:buChar char="§"/>
              <a:tabLst>
                <a:tab pos="4845050" algn="l"/>
              </a:tabLst>
            </a:pPr>
            <a:r>
              <a:rPr lang="de-CH" sz="2400" dirty="0"/>
              <a:t>Hardware</a:t>
            </a:r>
          </a:p>
          <a:p>
            <a:pPr marL="285750" indent="-285750" algn="l">
              <a:spcBef>
                <a:spcPct val="30000"/>
              </a:spcBef>
              <a:buFont typeface="Wingdings" panose="05000000000000000000" pitchFamily="2" charset="2"/>
              <a:buChar char="§"/>
              <a:tabLst>
                <a:tab pos="4845050" algn="l"/>
              </a:tabLst>
            </a:pPr>
            <a:r>
              <a:rPr lang="de-CH" sz="2400" dirty="0"/>
              <a:t>Windows 10</a:t>
            </a:r>
          </a:p>
          <a:p>
            <a:pPr marL="285750" indent="-285750" algn="l">
              <a:spcBef>
                <a:spcPct val="30000"/>
              </a:spcBef>
              <a:buFont typeface="Wingdings" panose="05000000000000000000" pitchFamily="2" charset="2"/>
              <a:buChar char="§"/>
              <a:tabLst>
                <a:tab pos="4845050" algn="l"/>
              </a:tabLst>
            </a:pPr>
            <a:r>
              <a:rPr lang="de-CH" sz="2400" dirty="0"/>
              <a:t>Ordnung im Explorer</a:t>
            </a:r>
          </a:p>
          <a:p>
            <a:pPr marL="285750" indent="-285750" algn="l">
              <a:spcBef>
                <a:spcPct val="30000"/>
              </a:spcBef>
              <a:buFont typeface="Wingdings" panose="05000000000000000000" pitchFamily="2" charset="2"/>
              <a:buChar char="§"/>
              <a:tabLst>
                <a:tab pos="4845050" algn="l"/>
              </a:tabLst>
            </a:pPr>
            <a:r>
              <a:rPr lang="de-CH" sz="2400" dirty="0"/>
              <a:t>Word 2016</a:t>
            </a:r>
          </a:p>
          <a:p>
            <a:pPr marL="285750" indent="-285750" algn="l">
              <a:spcBef>
                <a:spcPct val="30000"/>
              </a:spcBef>
              <a:buFont typeface="Wingdings" panose="05000000000000000000" pitchFamily="2" charset="2"/>
              <a:buChar char="§"/>
              <a:tabLst>
                <a:tab pos="4845050" algn="l"/>
              </a:tabLst>
            </a:pPr>
            <a:r>
              <a:rPr lang="de-CH" sz="2400" dirty="0"/>
              <a:t>Grafiken, Bilder, Videos</a:t>
            </a:r>
          </a:p>
          <a:p>
            <a:pPr marL="285750" indent="-285750" algn="l">
              <a:spcBef>
                <a:spcPct val="30000"/>
              </a:spcBef>
              <a:buFont typeface="Wingdings" panose="05000000000000000000" pitchFamily="2" charset="2"/>
              <a:buChar char="§"/>
              <a:tabLst>
                <a:tab pos="4845050" algn="l"/>
              </a:tabLst>
            </a:pPr>
            <a:r>
              <a:rPr lang="de-CH" sz="2400" dirty="0"/>
              <a:t>Internet, Cloud</a:t>
            </a:r>
          </a:p>
          <a:p>
            <a:pPr marL="285750" indent="-285750" algn="l">
              <a:spcBef>
                <a:spcPct val="30000"/>
              </a:spcBef>
              <a:buFont typeface="Wingdings" panose="05000000000000000000" pitchFamily="2" charset="2"/>
              <a:buChar char="§"/>
              <a:tabLst>
                <a:tab pos="4845050" algn="l"/>
              </a:tabLst>
            </a:pPr>
            <a:r>
              <a:rPr lang="de-CH" sz="2400" dirty="0"/>
              <a:t>Sicherheit</a:t>
            </a:r>
          </a:p>
          <a:p>
            <a:pPr marL="285750" indent="-285750" algn="l">
              <a:spcBef>
                <a:spcPct val="30000"/>
              </a:spcBef>
              <a:buFont typeface="Wingdings" panose="05000000000000000000" pitchFamily="2" charset="2"/>
              <a:buChar char="§"/>
              <a:tabLst>
                <a:tab pos="4845050" algn="l"/>
              </a:tabLst>
            </a:pPr>
            <a:endParaRPr lang="de-CH" sz="2400" dirty="0"/>
          </a:p>
          <a:p>
            <a:pPr marL="285750" indent="-285750" algn="l">
              <a:spcBef>
                <a:spcPct val="30000"/>
              </a:spcBef>
              <a:buFont typeface="Wingdings" panose="05000000000000000000" pitchFamily="2" charset="2"/>
              <a:buChar char="§"/>
              <a:tabLst>
                <a:tab pos="4845050" algn="l"/>
              </a:tabLst>
            </a:pPr>
            <a:endParaRPr lang="de-CH" sz="2400" dirty="0"/>
          </a:p>
          <a:p>
            <a:pPr marL="285750" indent="-285750" algn="l">
              <a:spcBef>
                <a:spcPct val="30000"/>
              </a:spcBef>
              <a:buFont typeface="Wingdings" panose="05000000000000000000" pitchFamily="2" charset="2"/>
              <a:buChar char="§"/>
              <a:tabLst>
                <a:tab pos="4845050" algn="l"/>
              </a:tabLst>
            </a:pPr>
            <a:endParaRPr lang="de-CH" sz="2400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F241D015-7BBD-4E26-941E-24908493C4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E7944A1-75FA-4DC1-B713-06EB4AF680E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324629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10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10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10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10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08D4B2-0EC9-40EF-AEF7-1829D374E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Kurszeiten</a:t>
            </a:r>
          </a:p>
        </p:txBody>
      </p:sp>
      <p:graphicFrame>
        <p:nvGraphicFramePr>
          <p:cNvPr id="9" name="Inhaltsplatzhalter 4">
            <a:extLst>
              <a:ext uri="{FF2B5EF4-FFF2-40B4-BE49-F238E27FC236}">
                <a16:creationId xmlns:a16="http://schemas.microsoft.com/office/drawing/2014/main" id="{D730D8C7-56B1-45A5-9156-E48F66585D8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92557907"/>
              </p:ext>
            </p:extLst>
          </p:nvPr>
        </p:nvGraphicFramePr>
        <p:xfrm>
          <a:off x="3491880" y="273050"/>
          <a:ext cx="5111750" cy="48426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1" name="Picture 2" descr="C:\Documents and Settings\magy\Local Settings\Temporary Internet Files\Content.IE5\I0WY00ZQ\MCj04315860000[1].png">
            <a:extLst>
              <a:ext uri="{FF2B5EF4-FFF2-40B4-BE49-F238E27FC236}">
                <a16:creationId xmlns:a16="http://schemas.microsoft.com/office/drawing/2014/main" id="{CED8F847-ABD4-4F98-B4D3-0FC6BC2F6C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596" y="2357430"/>
            <a:ext cx="1828572" cy="1828572"/>
          </a:xfrm>
          <a:prstGeom prst="rect">
            <a:avLst/>
          </a:prstGeom>
          <a:noFill/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78C98B1D-5718-4E1D-BE73-CB7D08858947}"/>
              </a:ext>
            </a:extLst>
          </p:cNvPr>
          <p:cNvSpPr/>
          <p:nvPr/>
        </p:nvSpPr>
        <p:spPr>
          <a:xfrm>
            <a:off x="922867" y="5388806"/>
            <a:ext cx="28575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CH" dirty="0"/>
              <a:t>…und dazwischen jeweils 20 Minuten Pause um ca.</a:t>
            </a:r>
          </a:p>
        </p:txBody>
      </p:sp>
      <p:sp>
        <p:nvSpPr>
          <p:cNvPr id="13" name="Abgerundetes Rechteck 9">
            <a:extLst>
              <a:ext uri="{FF2B5EF4-FFF2-40B4-BE49-F238E27FC236}">
                <a16:creationId xmlns:a16="http://schemas.microsoft.com/office/drawing/2014/main" id="{37D888BA-75BA-4738-BC3A-E4E09247B5DF}"/>
              </a:ext>
            </a:extLst>
          </p:cNvPr>
          <p:cNvSpPr/>
          <p:nvPr/>
        </p:nvSpPr>
        <p:spPr>
          <a:xfrm>
            <a:off x="4561955" y="5463633"/>
            <a:ext cx="1143008" cy="571504"/>
          </a:xfrm>
          <a:prstGeom prst="roundRect">
            <a:avLst/>
          </a:prstGeom>
          <a:solidFill>
            <a:srgbClr val="FF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dirty="0">
                <a:solidFill>
                  <a:schemeClr val="accent4"/>
                </a:solidFill>
              </a:rPr>
              <a:t>10:00 Uhr</a:t>
            </a:r>
          </a:p>
        </p:txBody>
      </p:sp>
      <p:sp>
        <p:nvSpPr>
          <p:cNvPr id="14" name="Abgerundetes Rechteck 10">
            <a:extLst>
              <a:ext uri="{FF2B5EF4-FFF2-40B4-BE49-F238E27FC236}">
                <a16:creationId xmlns:a16="http://schemas.microsoft.com/office/drawing/2014/main" id="{A83DD97F-6985-4D23-A3A0-A4384094D55D}"/>
              </a:ext>
            </a:extLst>
          </p:cNvPr>
          <p:cNvSpPr/>
          <p:nvPr/>
        </p:nvSpPr>
        <p:spPr>
          <a:xfrm>
            <a:off x="6827116" y="5465577"/>
            <a:ext cx="1143008" cy="571504"/>
          </a:xfrm>
          <a:prstGeom prst="roundRect">
            <a:avLst/>
          </a:prstGeom>
          <a:solidFill>
            <a:srgbClr val="FF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dirty="0">
                <a:solidFill>
                  <a:schemeClr val="accent4"/>
                </a:solidFill>
              </a:rPr>
              <a:t>14:30 Uhr</a:t>
            </a:r>
          </a:p>
        </p:txBody>
      </p:sp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DC41306B-9DDB-48A1-82A3-76FC5CE86C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139A2-F994-479F-8744-25C5BE699E71}" type="datetime4">
              <a:rPr lang="de-CH" smtClean="0"/>
              <a:t>4. August 2020</a:t>
            </a:fld>
            <a:endParaRPr lang="en-GB" dirty="0"/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308C0A52-352C-4266-9973-23E44CFCDD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45984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  <p:bldP spid="12" grpId="0"/>
      <p:bldP spid="13" grpId="0" animBg="1"/>
      <p:bldP spid="1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08D4B2-0EC9-40EF-AEF7-1829D374E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Kurszeiten</a:t>
            </a:r>
          </a:p>
        </p:txBody>
      </p:sp>
      <p:graphicFrame>
        <p:nvGraphicFramePr>
          <p:cNvPr id="9" name="Inhaltsplatzhalter 4">
            <a:extLst>
              <a:ext uri="{FF2B5EF4-FFF2-40B4-BE49-F238E27FC236}">
                <a16:creationId xmlns:a16="http://schemas.microsoft.com/office/drawing/2014/main" id="{D730D8C7-56B1-45A5-9156-E48F66585D8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00237498"/>
              </p:ext>
            </p:extLst>
          </p:nvPr>
        </p:nvGraphicFramePr>
        <p:xfrm>
          <a:off x="3491880" y="273050"/>
          <a:ext cx="5111750" cy="43113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C7A8CC89-7E39-4FE0-BEB4-A1092EFB42C9}"/>
              </a:ext>
            </a:extLst>
          </p:cNvPr>
          <p:cNvSpPr txBox="1">
            <a:spLocks/>
          </p:cNvSpPr>
          <p:nvPr/>
        </p:nvSpPr>
        <p:spPr>
          <a:xfrm>
            <a:off x="0" y="1435100"/>
            <a:ext cx="3008313" cy="4691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4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/>
          </a:p>
          <a:p>
            <a:endParaRPr lang="de-CH"/>
          </a:p>
          <a:p>
            <a:endParaRPr lang="de-CH"/>
          </a:p>
          <a:p>
            <a:endParaRPr lang="de-CH"/>
          </a:p>
          <a:p>
            <a:endParaRPr lang="de-CH"/>
          </a:p>
          <a:p>
            <a:endParaRPr lang="de-CH"/>
          </a:p>
          <a:p>
            <a:endParaRPr lang="de-CH" dirty="0"/>
          </a:p>
        </p:txBody>
      </p:sp>
      <p:pic>
        <p:nvPicPr>
          <p:cNvPr id="11" name="Picture 2" descr="C:\Documents and Settings\magy\Local Settings\Temporary Internet Files\Content.IE5\I0WY00ZQ\MCj04315860000[1].png">
            <a:extLst>
              <a:ext uri="{FF2B5EF4-FFF2-40B4-BE49-F238E27FC236}">
                <a16:creationId xmlns:a16="http://schemas.microsoft.com/office/drawing/2014/main" id="{CED8F847-ABD4-4F98-B4D3-0FC6BC2F6C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596" y="2357430"/>
            <a:ext cx="1828572" cy="1828572"/>
          </a:xfrm>
          <a:prstGeom prst="rect">
            <a:avLst/>
          </a:prstGeom>
          <a:noFill/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78C98B1D-5718-4E1D-BE73-CB7D08858947}"/>
              </a:ext>
            </a:extLst>
          </p:cNvPr>
          <p:cNvSpPr/>
          <p:nvPr/>
        </p:nvSpPr>
        <p:spPr>
          <a:xfrm>
            <a:off x="428596" y="5425875"/>
            <a:ext cx="382212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CH" dirty="0"/>
              <a:t>…und 20 Minuten Pause um ca.</a:t>
            </a:r>
          </a:p>
        </p:txBody>
      </p:sp>
      <p:sp>
        <p:nvSpPr>
          <p:cNvPr id="15" name="Abgerundetes Rechteck 11">
            <a:extLst>
              <a:ext uri="{FF2B5EF4-FFF2-40B4-BE49-F238E27FC236}">
                <a16:creationId xmlns:a16="http://schemas.microsoft.com/office/drawing/2014/main" id="{E6CDE904-85F7-4BFC-9824-6DA2CEA265BE}"/>
              </a:ext>
            </a:extLst>
          </p:cNvPr>
          <p:cNvSpPr/>
          <p:nvPr/>
        </p:nvSpPr>
        <p:spPr>
          <a:xfrm>
            <a:off x="5635088" y="5327707"/>
            <a:ext cx="1143008" cy="571504"/>
          </a:xfrm>
          <a:prstGeom prst="roundRect">
            <a:avLst/>
          </a:prstGeom>
          <a:solidFill>
            <a:srgbClr val="FF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dirty="0">
                <a:solidFill>
                  <a:schemeClr val="accent4"/>
                </a:solidFill>
              </a:rPr>
              <a:t>20:00 Uh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25A4F12-3E17-4037-BE72-18AFABA1C2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77DCA-0D32-43DE-9863-C24EB942D5C9}" type="datetime4">
              <a:rPr lang="de-CH" smtClean="0"/>
              <a:t>4. August 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D70218C-C949-4659-A1A2-A424258B21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81184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  <p:bldP spid="12" grpId="0"/>
      <p:bldP spid="1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randschutz_V2_DEU_ENG_SPA">
            <a:hlinkClick r:id="" action="ppaction://media"/>
            <a:extLst>
              <a:ext uri="{FF2B5EF4-FFF2-40B4-BE49-F238E27FC236}">
                <a16:creationId xmlns:a16="http://schemas.microsoft.com/office/drawing/2014/main" id="{AD10D5FF-98F2-43E4-89F4-73D498BA7B7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713504" y="450850"/>
            <a:ext cx="10170550" cy="5721350"/>
          </a:xfrm>
          <a:prstGeom prst="roundRect">
            <a:avLst/>
          </a:prstGeom>
        </p:spPr>
      </p:pic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4AC27016-1BBC-4CDD-A7A6-FAE42A99B1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E1A90-CD42-4532-901D-5CCB93EF084B}" type="datetime4">
              <a:rPr lang="de-CH" smtClean="0"/>
              <a:t>4. August 2020</a:t>
            </a:fld>
            <a:endParaRPr lang="en-GB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937363-A31A-46AE-B9C7-C3913FB810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73656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714F908-9433-430E-B573-D36B6156AF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242DFD-80F6-4263-A7FF-D44C73BC56D2}" type="datetime4">
              <a:rPr lang="de-CH" smtClean="0"/>
              <a:t>4. August 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7BA1FEE-5EB3-4F34-AB62-742A8535E0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44AE534-E953-44C6-866C-A3EC525EF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Vorstellung der Teilnehmenden</a:t>
            </a:r>
          </a:p>
        </p:txBody>
      </p:sp>
      <p:pic>
        <p:nvPicPr>
          <p:cNvPr id="9" name="Bildplatzhalter 8" descr="Ein Bild, das Person, draußen, sitzend, Gebäude enthält.&#10;&#10;Automatisch generierte Beschreibung">
            <a:extLst>
              <a:ext uri="{FF2B5EF4-FFF2-40B4-BE49-F238E27FC236}">
                <a16:creationId xmlns:a16="http://schemas.microsoft.com/office/drawing/2014/main" id="{E97957B3-3BC4-47E3-9EBE-F5E2420C9E6B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6" r="25006"/>
          <a:stretch>
            <a:fillRect/>
          </a:stretch>
        </p:blipFill>
        <p:spPr/>
      </p:pic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AE0D79E-FCEE-4E6F-901A-AD953AEAF8D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GB" dirty="0"/>
          </a:p>
          <a:p>
            <a:endParaRPr lang="de-CH" dirty="0"/>
          </a:p>
        </p:txBody>
      </p:sp>
      <p:pic>
        <p:nvPicPr>
          <p:cNvPr id="8" name="Picture 1053" descr="schweiz">
            <a:extLst>
              <a:ext uri="{FF2B5EF4-FFF2-40B4-BE49-F238E27FC236}">
                <a16:creationId xmlns:a16="http://schemas.microsoft.com/office/drawing/2014/main" id="{7BC16971-6B57-4F02-A8C1-4AFF338B43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16924" y="4856204"/>
            <a:ext cx="3269453" cy="2137719"/>
          </a:xfrm>
          <a:prstGeom prst="rect">
            <a:avLst/>
          </a:prstGeom>
          <a:noFill/>
        </p:spPr>
      </p:pic>
      <p:sp>
        <p:nvSpPr>
          <p:cNvPr id="10" name="Rectangle 3">
            <a:extLst>
              <a:ext uri="{FF2B5EF4-FFF2-40B4-BE49-F238E27FC236}">
                <a16:creationId xmlns:a16="http://schemas.microsoft.com/office/drawing/2014/main" id="{598CC70E-21F0-4D87-8B9D-003F7521BF8A}"/>
              </a:ext>
            </a:extLst>
          </p:cNvPr>
          <p:cNvSpPr txBox="1">
            <a:spLocks noChangeArrowheads="1"/>
          </p:cNvSpPr>
          <p:nvPr/>
        </p:nvSpPr>
        <p:spPr>
          <a:xfrm>
            <a:off x="839389" y="1645920"/>
            <a:ext cx="7272000" cy="45259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4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de-CH" dirty="0"/>
              <a:t>Sie heissen ….  und kommen von ……</a:t>
            </a:r>
            <a:br>
              <a:rPr lang="de-CH" dirty="0"/>
            </a:br>
            <a:endParaRPr lang="de-CH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CH" dirty="0"/>
              <a:t>Welche Erwartungen haben Sie an diesen Kurs und an sich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CH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CH" dirty="0"/>
              <a:t>Welche Erfahrungen haben Sie bereits mit </a:t>
            </a:r>
            <a:r>
              <a:rPr lang="de-CH" dirty="0" err="1"/>
              <a:t>PC's</a:t>
            </a:r>
            <a:r>
              <a:rPr lang="de-CH" dirty="0"/>
              <a:t>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CH" dirty="0"/>
          </a:p>
          <a:p>
            <a:pPr marL="1003300" indent="-285750">
              <a:buFont typeface="Wingdings" panose="05000000000000000000" pitchFamily="2" charset="2"/>
              <a:buChar char="§"/>
            </a:pPr>
            <a:r>
              <a:rPr lang="de-CH" dirty="0"/>
              <a:t>Ihr Computer…</a:t>
            </a:r>
          </a:p>
          <a:p>
            <a:pPr marL="1292225" lvl="1" indent="-285750">
              <a:buFont typeface="Symbol" panose="05050102010706020507" pitchFamily="18" charset="2"/>
              <a:buChar char="-"/>
            </a:pPr>
            <a:r>
              <a:rPr lang="de-CH" dirty="0"/>
              <a:t>… Windows Version?</a:t>
            </a:r>
          </a:p>
          <a:p>
            <a:pPr marL="1292225" lvl="1" indent="-285750">
              <a:buFont typeface="Symbol" panose="05050102010706020507" pitchFamily="18" charset="2"/>
              <a:buChar char="-"/>
            </a:pPr>
            <a:r>
              <a:rPr lang="de-CH" dirty="0"/>
              <a:t>… Haben sie ein Office?</a:t>
            </a:r>
          </a:p>
          <a:p>
            <a:pPr marL="1292225" lvl="1" indent="-285750">
              <a:buFont typeface="Symbol" panose="05050102010706020507" pitchFamily="18" charset="2"/>
              <a:buChar char="-"/>
            </a:pPr>
            <a:r>
              <a:rPr lang="de-CH" dirty="0"/>
              <a:t>… welche Version?</a:t>
            </a:r>
          </a:p>
        </p:txBody>
      </p:sp>
    </p:spTree>
    <p:extLst>
      <p:ext uri="{BB962C8B-B14F-4D97-AF65-F5344CB8AC3E}">
        <p14:creationId xmlns:p14="http://schemas.microsoft.com/office/powerpoint/2010/main" val="3984230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F1C6DBA-5574-4BB7-9799-FF708BB60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C2476F-D7F6-4199-9BE2-AB4B61D25663}" type="datetime4">
              <a:rPr lang="de-CH" smtClean="0"/>
              <a:t>4. August 2020</a:t>
            </a:fld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3AFF6E-EA47-4F4C-A02B-E625273B4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8</a:t>
            </a:fld>
            <a:endParaRPr lang="en-GB" dirty="0"/>
          </a:p>
        </p:txBody>
      </p:sp>
      <p:pic>
        <p:nvPicPr>
          <p:cNvPr id="12" name="Picture 4" descr="C:\Users\amrec0\AppData\Local\Microsoft\Windows\Temporary Internet Files\Content.IE5\8WIKTYL3\MC900433165[1].jpg">
            <a:extLst>
              <a:ext uri="{FF2B5EF4-FFF2-40B4-BE49-F238E27FC236}">
                <a16:creationId xmlns:a16="http://schemas.microsoft.com/office/drawing/2014/main" id="{6A7315B7-D45A-4222-9921-77EDC399BB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8357" y="891221"/>
            <a:ext cx="6400800" cy="4803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79498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782A8C4-0C2D-426B-9EF7-229CBD7C1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4B594-4FB0-4A4C-954F-571F2B70C6DD}" type="datetime4">
              <a:rPr lang="de-CH" smtClean="0"/>
              <a:t>4. August 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3C6618-D0B7-4F7A-AE83-A4CC783E6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B9209-B7EF-43C7-B513-9183625F41C2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C2263A1-96CB-4F1C-A570-2D2B49C97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10" name="Bildplatzhalter 9" descr="Ein Bild, das Person, draußen, sitzend, Gebäude enthält.&#10;&#10;Automatisch generierte Beschreibung">
            <a:extLst>
              <a:ext uri="{FF2B5EF4-FFF2-40B4-BE49-F238E27FC236}">
                <a16:creationId xmlns:a16="http://schemas.microsoft.com/office/drawing/2014/main" id="{C44AB234-2F78-4EC9-9410-6A0E7A1A2C8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53" b="11453"/>
          <a:stretch>
            <a:fillRect/>
          </a:stretch>
        </p:blipFill>
        <p:spPr/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5E5DB75-2EA0-4175-A202-9A82051502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4B10424-6EAA-4456-B4FF-7751E1E5A9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3503" y="4431563"/>
            <a:ext cx="6489402" cy="1840843"/>
          </a:xfrm>
        </p:spPr>
        <p:txBody>
          <a:bodyPr anchor="ctr" anchorCtr="0"/>
          <a:lstStyle/>
          <a:p>
            <a:r>
              <a:rPr lang="de-CH" sz="3200" dirty="0"/>
              <a:t>Wir wünschen Ihnen viel Spass und Lernerfolg in diesem Seminar!</a:t>
            </a:r>
          </a:p>
        </p:txBody>
      </p:sp>
    </p:spTree>
    <p:extLst>
      <p:ext uri="{BB962C8B-B14F-4D97-AF65-F5344CB8AC3E}">
        <p14:creationId xmlns:p14="http://schemas.microsoft.com/office/powerpoint/2010/main" val="26045513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MIO_EKGUID" val="aa100f7e-c8c6-4649-883c-228dfc36e83c"/>
  <p:tag name="MIO_UPDATE" val="True"/>
  <p:tag name="MIO_VERSION" val="05.11.2018 17:17:24"/>
  <p:tag name="MIO_DBID" val="E451C994-8A03-42B0-9A6A-1082179E3428"/>
  <p:tag name="MIO_LASTDOWNLOADED" val="05.11.2018 17:17:23"/>
  <p:tag name="MIO_OBJECTNAME" val="PPTX_Koordination Klubschulen_Präsentation_D_FW_05"/>
  <p:tag name="MIO_LASTEDITORNAME" val="LizardKing "/>
</p:tagLst>
</file>

<file path=ppt/theme/theme1.xml><?xml version="1.0" encoding="utf-8"?>
<a:theme xmlns:a="http://schemas.openxmlformats.org/drawingml/2006/main" name="Koordination Klubschulen">
  <a:themeElements>
    <a:clrScheme name="Koordination Klubschulen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53A6"/>
      </a:accent1>
      <a:accent2>
        <a:srgbClr val="F4001B"/>
      </a:accent2>
      <a:accent3>
        <a:srgbClr val="028D36"/>
      </a:accent3>
      <a:accent4>
        <a:srgbClr val="FF6200"/>
      </a:accent4>
      <a:accent5>
        <a:srgbClr val="00A2B0"/>
      </a:accent5>
      <a:accent6>
        <a:srgbClr val="E33272"/>
      </a:accent6>
      <a:hlink>
        <a:srgbClr val="0053A6"/>
      </a:hlink>
      <a:folHlink>
        <a:srgbClr val="728490"/>
      </a:folHlink>
    </a:clrScheme>
    <a:fontScheme name="Koordination Klubschul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Klub Gesundheit Grün">
      <a:srgbClr val="01A385"/>
    </a:custClr>
    <a:custClr name="Klub Ausbildende Violett">
      <a:srgbClr val="7E5396"/>
    </a:custClr>
    <a:custClr name="Klub Firmen Rot">
      <a:srgbClr val="950D33"/>
    </a:custClr>
    <a:custClr name="Klub Kreativität Orange">
      <a:srgbClr val="ED682F"/>
    </a:custClr>
    <a:custClr name="Klub Sprachen Rosa">
      <a:srgbClr val="D2589C"/>
    </a:custClr>
  </a:custClrLst>
  <a:extLst>
    <a:ext uri="{05A4C25C-085E-4340-85A3-A5531E510DB2}">
      <thm15:themeFamily xmlns:thm15="http://schemas.microsoft.com/office/thememl/2012/main" name="PPTX_Master169_Koordination Klubschulen_FW_07.pptx" id="{EE79FC49-4A83-49B0-A74B-6C9E356DDB8F}" vid="{3D798F66-67CC-41AB-BDE5-D12A246A885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TX_Master169_Koordination Klubschulen_FW_01</Template>
  <TotalTime>0</TotalTime>
  <Words>201</Words>
  <Application>Microsoft Office PowerPoint</Application>
  <PresentationFormat>Breitbild</PresentationFormat>
  <Paragraphs>68</Paragraphs>
  <Slides>9</Slides>
  <Notes>0</Notes>
  <HiddenSlides>1</HiddenSlides>
  <MMClips>1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4" baseType="lpstr">
      <vt:lpstr>Arial</vt:lpstr>
      <vt:lpstr>Calibri</vt:lpstr>
      <vt:lpstr>Symbol</vt:lpstr>
      <vt:lpstr>Wingdings</vt:lpstr>
      <vt:lpstr>Koordination Klubschulen</vt:lpstr>
      <vt:lpstr>herzlich willkommen</vt:lpstr>
      <vt:lpstr>Lernziele</vt:lpstr>
      <vt:lpstr>PowerPoint-Präsentation</vt:lpstr>
      <vt:lpstr>Kurszeiten</vt:lpstr>
      <vt:lpstr>Kurszeiten</vt:lpstr>
      <vt:lpstr>PowerPoint-Präsentation</vt:lpstr>
      <vt:lpstr>Vorstellung der Teilnehmende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</dc:title>
  <dc:creator>michael@folienwerke.onmicrosoft.com</dc:creator>
  <cp:lastModifiedBy>Aldo Lehner</cp:lastModifiedBy>
  <cp:revision>155</cp:revision>
  <dcterms:created xsi:type="dcterms:W3CDTF">2018-11-01T10:33:54Z</dcterms:created>
  <dcterms:modified xsi:type="dcterms:W3CDTF">2020-08-04T13:58:03Z</dcterms:modified>
</cp:coreProperties>
</file>